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7"/>
    <p:sldMasterId id="2147483660" r:id="rId8"/>
    <p:sldMasterId id="2147483958" r:id="rId9"/>
    <p:sldMasterId id="2147483971" r:id="rId10"/>
    <p:sldMasterId id="2147484239" r:id="rId11"/>
  </p:sldMasterIdLst>
  <p:notesMasterIdLst>
    <p:notesMasterId r:id="rId21"/>
  </p:notesMasterIdLst>
  <p:sldIdLst>
    <p:sldId id="381" r:id="rId12"/>
    <p:sldId id="370" r:id="rId13"/>
    <p:sldId id="368" r:id="rId14"/>
    <p:sldId id="366" r:id="rId15"/>
    <p:sldId id="369" r:id="rId16"/>
    <p:sldId id="378" r:id="rId17"/>
    <p:sldId id="367" r:id="rId18"/>
    <p:sldId id="376" r:id="rId19"/>
    <p:sldId id="344" r:id="rId20"/>
  </p:sldIdLst>
  <p:sldSz cx="12192000" cy="6858000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ая часть" id="{BD524BD4-ED91-447A-A01A-56AD2CE97F13}">
          <p14:sldIdLst>
            <p14:sldId id="381"/>
            <p14:sldId id="370"/>
            <p14:sldId id="368"/>
            <p14:sldId id="366"/>
            <p14:sldId id="369"/>
            <p14:sldId id="378"/>
            <p14:sldId id="367"/>
          </p14:sldIdLst>
        </p14:section>
        <p14:section name="Приложения" id="{8BFFC710-70F8-479B-B0AF-EE0B90CEBA21}">
          <p14:sldIdLst>
            <p14:sldId id="376"/>
            <p14:sldId id="34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ончарова Наталья Ивановна" initials="ГНИ" lastIdx="2" clrIdx="0">
    <p:extLst>
      <p:ext uri="{19B8F6BF-5375-455C-9EA6-DF929625EA0E}">
        <p15:presenceInfo xmlns:p15="http://schemas.microsoft.com/office/powerpoint/2012/main" userId="S-1-5-21-1177238915-789336058-682003330-145958" providerId="AD"/>
      </p:ext>
    </p:extLst>
  </p:cmAuthor>
  <p:cmAuthor id="2" name="Таскина Елена Игоревна" initials="ТЕИ" lastIdx="4" clrIdx="1">
    <p:extLst>
      <p:ext uri="{19B8F6BF-5375-455C-9EA6-DF929625EA0E}">
        <p15:presenceInfo xmlns:p15="http://schemas.microsoft.com/office/powerpoint/2012/main" userId="Таскина Елена Игор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FBFBF"/>
    <a:srgbClr val="4A7EBB"/>
    <a:srgbClr val="C6D9F1"/>
    <a:srgbClr val="2C5697"/>
    <a:srgbClr val="FFFFFF"/>
    <a:srgbClr val="2C5997"/>
    <a:srgbClr val="F2F2F2"/>
    <a:srgbClr val="FFFF99"/>
    <a:srgbClr val="FFFFCC"/>
    <a:srgbClr val="FF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33" autoAdjust="0"/>
    <p:restoredTop sz="87591" autoAdjust="0"/>
  </p:normalViewPr>
  <p:slideViewPr>
    <p:cSldViewPr>
      <p:cViewPr varScale="1">
        <p:scale>
          <a:sx n="73" d="100"/>
          <a:sy n="73" d="100"/>
        </p:scale>
        <p:origin x="1378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1272"/>
    </p:cViewPr>
  </p:outlineViewPr>
  <p:notesTextViewPr>
    <p:cViewPr>
      <p:scale>
        <a:sx n="66" d="100"/>
        <a:sy n="66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5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8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3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739902-388B-46FA-AC15-CF53BFB17FE3}" type="doc">
      <dgm:prSet loTypeId="urn:microsoft.com/office/officeart/2008/layout/AlternatingHexagons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06872ED-CD27-4765-BC2D-11944ADC4775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Снизить расходы на передачу документов</a:t>
          </a:r>
          <a:endParaRPr lang="ru-RU" sz="1200" dirty="0">
            <a:solidFill>
              <a:schemeClr val="tx1"/>
            </a:solidFill>
          </a:endParaRPr>
        </a:p>
      </dgm:t>
    </dgm:pt>
    <dgm:pt modelId="{CD2BCFFA-4E94-4722-AAE5-19C36217A01E}" type="parTrans" cxnId="{1779F073-E9BB-4563-B95B-EEDC7721CD78}">
      <dgm:prSet/>
      <dgm:spPr/>
      <dgm:t>
        <a:bodyPr/>
        <a:lstStyle/>
        <a:p>
          <a:endParaRPr lang="ru-RU"/>
        </a:p>
      </dgm:t>
    </dgm:pt>
    <dgm:pt modelId="{D0A12E5F-821C-47B3-B74B-CBBFC1E85BAD}" type="sibTrans" cxnId="{1779F073-E9BB-4563-B95B-EEDC7721CD78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5A41FC73-B76A-408B-87A1-78B4809738DF}">
      <dgm:prSet phldrT="[Текст]" custT="1"/>
      <dgm:spPr/>
      <dgm:t>
        <a:bodyPr/>
        <a:lstStyle/>
        <a:p>
          <a:pPr algn="ctr"/>
          <a:r>
            <a:rPr lang="ru-RU" sz="1200" dirty="0" smtClean="0">
              <a:solidFill>
                <a:schemeClr val="tx1"/>
              </a:solidFill>
            </a:rPr>
            <a:t>Повысить надежность и безопасность обмена данными</a:t>
          </a:r>
          <a:endParaRPr lang="ru-RU" sz="1200" dirty="0">
            <a:solidFill>
              <a:schemeClr val="tx1"/>
            </a:solidFill>
          </a:endParaRPr>
        </a:p>
      </dgm:t>
    </dgm:pt>
    <dgm:pt modelId="{CCB9CB62-80DE-4A69-93E0-C3DFB0D8CBD1}" type="parTrans" cxnId="{636B84E6-6FF5-4783-908F-7F949062C70A}">
      <dgm:prSet/>
      <dgm:spPr/>
      <dgm:t>
        <a:bodyPr/>
        <a:lstStyle/>
        <a:p>
          <a:endParaRPr lang="ru-RU"/>
        </a:p>
      </dgm:t>
    </dgm:pt>
    <dgm:pt modelId="{D7E8EFF9-EEB5-4680-A84D-B96B84247047}" type="sibTrans" cxnId="{636B84E6-6FF5-4783-908F-7F949062C70A}">
      <dgm:prSet/>
      <dgm:spPr/>
      <dgm:t>
        <a:bodyPr/>
        <a:lstStyle/>
        <a:p>
          <a:endParaRPr lang="ru-RU"/>
        </a:p>
      </dgm:t>
    </dgm:pt>
    <dgm:pt modelId="{BCF99397-4C70-4C27-BD71-FF8BF39A7D88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Сократить длительность закупочного цикла</a:t>
          </a:r>
          <a:endParaRPr lang="ru-RU" sz="1200" dirty="0">
            <a:solidFill>
              <a:schemeClr val="tx1"/>
            </a:solidFill>
          </a:endParaRPr>
        </a:p>
      </dgm:t>
    </dgm:pt>
    <dgm:pt modelId="{38541760-82EF-4819-88BB-AB7DBD7EEA9D}" type="parTrans" cxnId="{F0209912-DDCA-4269-B65C-00A7ECAD12F1}">
      <dgm:prSet/>
      <dgm:spPr/>
      <dgm:t>
        <a:bodyPr/>
        <a:lstStyle/>
        <a:p>
          <a:endParaRPr lang="ru-RU"/>
        </a:p>
      </dgm:t>
    </dgm:pt>
    <dgm:pt modelId="{7B29D8E8-5C91-4023-B9D0-E17E600E06D5}" type="sibTrans" cxnId="{F0209912-DDCA-4269-B65C-00A7ECAD12F1}">
      <dgm:prSet/>
      <dgm:spPr/>
      <dgm:t>
        <a:bodyPr/>
        <a:lstStyle/>
        <a:p>
          <a:endParaRPr lang="ru-RU"/>
        </a:p>
      </dgm:t>
    </dgm:pt>
    <dgm:pt modelId="{E5D6D45C-72E6-4DC7-9AF3-A93BD15BCDF2}">
      <dgm:prSet phldrT="[Текст]" custT="1"/>
      <dgm:spPr/>
      <dgm:t>
        <a:bodyPr/>
        <a:lstStyle/>
        <a:p>
          <a:pPr algn="ctr"/>
          <a:r>
            <a:rPr lang="ru-RU" sz="1200" dirty="0" smtClean="0">
              <a:solidFill>
                <a:schemeClr val="tx1"/>
              </a:solidFill>
            </a:rPr>
            <a:t>Автоматизировать  процессы  взаимодействия</a:t>
          </a:r>
          <a:endParaRPr lang="ru-RU" sz="1200" dirty="0">
            <a:solidFill>
              <a:schemeClr val="tx1"/>
            </a:solidFill>
          </a:endParaRPr>
        </a:p>
      </dgm:t>
    </dgm:pt>
    <dgm:pt modelId="{529364A3-521E-49CD-9FEB-8F5F1AAB9F7E}" type="parTrans" cxnId="{ED8F8454-6904-4D51-8E36-701361F5140C}">
      <dgm:prSet/>
      <dgm:spPr/>
      <dgm:t>
        <a:bodyPr/>
        <a:lstStyle/>
        <a:p>
          <a:endParaRPr lang="ru-RU"/>
        </a:p>
      </dgm:t>
    </dgm:pt>
    <dgm:pt modelId="{C585DB65-D45E-4A1F-B763-70BF7220DFA8}" type="sibTrans" cxnId="{ED8F8454-6904-4D51-8E36-701361F5140C}">
      <dgm:prSet/>
      <dgm:spPr/>
      <dgm:t>
        <a:bodyPr/>
        <a:lstStyle/>
        <a:p>
          <a:endParaRPr lang="ru-RU"/>
        </a:p>
      </dgm:t>
    </dgm:pt>
    <dgm:pt modelId="{82330155-0C0E-4088-B1A2-1C2F7C8F5CD4}">
      <dgm:prSet phldrT="[Текст]" custT="1"/>
      <dgm:spPr/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Сократить количество ручного труда</a:t>
          </a:r>
          <a:endParaRPr lang="ru-RU" sz="1200" dirty="0">
            <a:solidFill>
              <a:schemeClr val="tx1"/>
            </a:solidFill>
          </a:endParaRPr>
        </a:p>
      </dgm:t>
    </dgm:pt>
    <dgm:pt modelId="{1D67F5E5-7305-4C4D-B18E-1CEB0B4FAE51}" type="parTrans" cxnId="{869EDA7D-463A-4D05-9D64-6B48E0DEE668}">
      <dgm:prSet/>
      <dgm:spPr/>
      <dgm:t>
        <a:bodyPr/>
        <a:lstStyle/>
        <a:p>
          <a:endParaRPr lang="ru-RU"/>
        </a:p>
      </dgm:t>
    </dgm:pt>
    <dgm:pt modelId="{933E2F2C-DE39-44D8-963B-05113DDCA55A}" type="sibTrans" cxnId="{869EDA7D-463A-4D05-9D64-6B48E0DEE668}">
      <dgm:prSet/>
      <dgm:spPr/>
      <dgm:t>
        <a:bodyPr/>
        <a:lstStyle/>
        <a:p>
          <a:pPr algn="ctr"/>
          <a:endParaRPr lang="ru-RU"/>
        </a:p>
      </dgm:t>
    </dgm:pt>
    <dgm:pt modelId="{B310C013-3EED-461C-A28C-D62C92BAA1D2}">
      <dgm:prSet phldrT="[Текст]" custT="1"/>
      <dgm:spPr/>
      <dgm:t>
        <a:bodyPr/>
        <a:lstStyle/>
        <a:p>
          <a:pPr algn="ctr"/>
          <a:r>
            <a:rPr lang="ru-RU" sz="1200" smtClean="0">
              <a:solidFill>
                <a:schemeClr val="tx1"/>
              </a:solidFill>
            </a:rPr>
            <a:t>Повысить эффективнность </a:t>
          </a:r>
          <a:r>
            <a:rPr lang="ru-RU" sz="1200" dirty="0" smtClean="0">
              <a:solidFill>
                <a:schemeClr val="tx1"/>
              </a:solidFill>
            </a:rPr>
            <a:t>процесса логистики</a:t>
          </a:r>
          <a:endParaRPr lang="ru-RU" sz="1200" dirty="0">
            <a:solidFill>
              <a:schemeClr val="tx1"/>
            </a:solidFill>
          </a:endParaRPr>
        </a:p>
      </dgm:t>
    </dgm:pt>
    <dgm:pt modelId="{3E33027C-36F1-4E82-BE0E-FD6A7A28E7BF}" type="parTrans" cxnId="{007BE0DB-8246-4907-8B2B-6F642A295D8E}">
      <dgm:prSet/>
      <dgm:spPr/>
      <dgm:t>
        <a:bodyPr/>
        <a:lstStyle/>
        <a:p>
          <a:endParaRPr lang="ru-RU"/>
        </a:p>
      </dgm:t>
    </dgm:pt>
    <dgm:pt modelId="{067AC48B-7F10-4D03-AC75-BECF2577FB48}" type="sibTrans" cxnId="{007BE0DB-8246-4907-8B2B-6F642A295D8E}">
      <dgm:prSet/>
      <dgm:spPr/>
      <dgm:t>
        <a:bodyPr/>
        <a:lstStyle/>
        <a:p>
          <a:endParaRPr lang="ru-RU"/>
        </a:p>
      </dgm:t>
    </dgm:pt>
    <dgm:pt modelId="{8686982B-7A32-4E1A-BA9C-1D9AB020D2A1}">
      <dgm:prSet custT="1"/>
      <dgm:spPr/>
      <dgm:t>
        <a:bodyPr/>
        <a:lstStyle/>
        <a:p>
          <a:pPr marL="0" indent="0"/>
          <a:r>
            <a:rPr lang="ru-RU" sz="1200" dirty="0" smtClean="0">
              <a:solidFill>
                <a:schemeClr val="tx1"/>
              </a:solidFill>
            </a:rPr>
            <a:t>Уменьшить ошибки в документах</a:t>
          </a:r>
          <a:endParaRPr lang="ru-RU" sz="1200" dirty="0">
            <a:solidFill>
              <a:schemeClr val="tx1"/>
            </a:solidFill>
          </a:endParaRPr>
        </a:p>
      </dgm:t>
    </dgm:pt>
    <dgm:pt modelId="{E7CEB234-6ABD-4C60-B45F-F61F15D33C25}" type="parTrans" cxnId="{69ECF43F-25A9-4BCE-9C0F-A525BA701E85}">
      <dgm:prSet/>
      <dgm:spPr/>
      <dgm:t>
        <a:bodyPr/>
        <a:lstStyle/>
        <a:p>
          <a:endParaRPr lang="ru-RU"/>
        </a:p>
      </dgm:t>
    </dgm:pt>
    <dgm:pt modelId="{45B415ED-C4D5-4FA6-8357-5143C07D7525}" type="sibTrans" cxnId="{69ECF43F-25A9-4BCE-9C0F-A525BA701E85}">
      <dgm:prSet/>
      <dgm:spPr>
        <a:noFill/>
        <a:ln>
          <a:solidFill>
            <a:srgbClr val="FFFFFF"/>
          </a:solidFill>
        </a:ln>
        <a:effectLst>
          <a:glow rad="127000">
            <a:schemeClr val="bg1"/>
          </a:glow>
          <a:outerShdw blurRad="50800" dist="50800" dir="5400000" algn="ctr" rotWithShape="0">
            <a:schemeClr val="bg1"/>
          </a:outerShdw>
        </a:effectLst>
        <a:scene3d>
          <a:camera prst="orthographicFront"/>
          <a:lightRig rig="chilly" dir="t"/>
        </a:scene3d>
        <a:sp3d prstMaterial="translucentPowder"/>
      </dgm:spPr>
      <dgm:t>
        <a:bodyPr/>
        <a:lstStyle/>
        <a:p>
          <a:endParaRPr lang="ru-RU" dirty="0">
            <a:solidFill>
              <a:schemeClr val="tx1"/>
            </a:solidFill>
          </a:endParaRPr>
        </a:p>
      </dgm:t>
    </dgm:pt>
    <dgm:pt modelId="{224CA158-ABBF-43A8-9924-28320115B5CE}" type="pres">
      <dgm:prSet presAssocID="{83739902-388B-46FA-AC15-CF53BFB17FE3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1050D2C-9460-4228-B10B-DFDA061088D8}" type="pres">
      <dgm:prSet presAssocID="{406872ED-CD27-4765-BC2D-11944ADC4775}" presName="composite" presStyleCnt="0"/>
      <dgm:spPr/>
    </dgm:pt>
    <dgm:pt modelId="{46DA253E-002B-47C1-A681-4724E3308AA5}" type="pres">
      <dgm:prSet presAssocID="{406872ED-CD27-4765-BC2D-11944ADC4775}" presName="Parent1" presStyleLbl="node1" presStyleIdx="0" presStyleCnt="8" custScaleX="122178" custScaleY="115082" custLinFactNeighborX="2097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444CBD-76B7-40D6-A0B5-111243622298}" type="pres">
      <dgm:prSet presAssocID="{406872ED-CD27-4765-BC2D-11944ADC4775}" presName="Childtext1" presStyleLbl="revTx" presStyleIdx="0" presStyleCnt="4" custScaleX="69165" custLinFactX="-76626" custLinFactNeighborX="-100000" custLinFactNeighborY="39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2B6E4B-55E3-4CB8-B191-D01942CE3B4D}" type="pres">
      <dgm:prSet presAssocID="{406872ED-CD27-4765-BC2D-11944ADC4775}" presName="BalanceSpacing" presStyleCnt="0"/>
      <dgm:spPr/>
    </dgm:pt>
    <dgm:pt modelId="{F72E259A-9B29-4FE8-BB4B-A6B0BC1F0243}" type="pres">
      <dgm:prSet presAssocID="{406872ED-CD27-4765-BC2D-11944ADC4775}" presName="BalanceSpacing1" presStyleCnt="0"/>
      <dgm:spPr/>
    </dgm:pt>
    <dgm:pt modelId="{B81FAE68-E99A-4660-8EE0-0FE4AD39E17B}" type="pres">
      <dgm:prSet presAssocID="{D0A12E5F-821C-47B3-B74B-CBBFC1E85BAD}" presName="Accent1Text" presStyleLbl="node1" presStyleIdx="1" presStyleCnt="8" custScaleX="122178" custScaleY="114722" custLinFactNeighborX="-3592" custLinFactNeighborY="1277"/>
      <dgm:spPr/>
      <dgm:t>
        <a:bodyPr/>
        <a:lstStyle/>
        <a:p>
          <a:endParaRPr lang="ru-RU"/>
        </a:p>
      </dgm:t>
    </dgm:pt>
    <dgm:pt modelId="{493456F8-6554-405B-8DB6-65DA44B2F832}" type="pres">
      <dgm:prSet presAssocID="{D0A12E5F-821C-47B3-B74B-CBBFC1E85BAD}" presName="spaceBetweenRectangles" presStyleCnt="0"/>
      <dgm:spPr/>
    </dgm:pt>
    <dgm:pt modelId="{88CBD737-3990-4C0E-98A0-0F672CC775CA}" type="pres">
      <dgm:prSet presAssocID="{BCF99397-4C70-4C27-BD71-FF8BF39A7D88}" presName="composite" presStyleCnt="0"/>
      <dgm:spPr/>
    </dgm:pt>
    <dgm:pt modelId="{D110E32B-63B3-44B2-9296-890BFC6DFA91}" type="pres">
      <dgm:prSet presAssocID="{BCF99397-4C70-4C27-BD71-FF8BF39A7D88}" presName="Parent1" presStyleLbl="node1" presStyleIdx="2" presStyleCnt="8" custScaleX="122178" custScaleY="112840" custLinFactNeighborX="10097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47B558-2D58-4589-AF34-7233E6E246BF}" type="pres">
      <dgm:prSet presAssocID="{BCF99397-4C70-4C27-BD71-FF8BF39A7D88}" presName="Childtext1" presStyleLbl="revTx" presStyleIdx="1" presStyleCnt="4" custLinFactX="100000" custLinFactNeighborX="112016" custLinFactNeighborY="-26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B3A679-2DBD-4EF4-8B47-7A29967477BD}" type="pres">
      <dgm:prSet presAssocID="{BCF99397-4C70-4C27-BD71-FF8BF39A7D88}" presName="BalanceSpacing" presStyleCnt="0"/>
      <dgm:spPr/>
    </dgm:pt>
    <dgm:pt modelId="{B01B5E9F-D08D-4198-B1AE-44BD829B2D25}" type="pres">
      <dgm:prSet presAssocID="{BCF99397-4C70-4C27-BD71-FF8BF39A7D88}" presName="BalanceSpacing1" presStyleCnt="0"/>
      <dgm:spPr/>
    </dgm:pt>
    <dgm:pt modelId="{950F6B66-FD8E-4D49-B309-69BAC31718C2}" type="pres">
      <dgm:prSet presAssocID="{7B29D8E8-5C91-4023-B9D0-E17E600E06D5}" presName="Accent1Text" presStyleLbl="node1" presStyleIdx="3" presStyleCnt="8" custScaleX="122178" custScaleY="111657" custLinFactNeighborX="36087" custLinFactNeighborY="-442"/>
      <dgm:spPr/>
      <dgm:t>
        <a:bodyPr/>
        <a:lstStyle/>
        <a:p>
          <a:endParaRPr lang="ru-RU"/>
        </a:p>
      </dgm:t>
    </dgm:pt>
    <dgm:pt modelId="{3CC8672D-AAF4-4D86-8BE9-D1A72BFEC61F}" type="pres">
      <dgm:prSet presAssocID="{7B29D8E8-5C91-4023-B9D0-E17E600E06D5}" presName="spaceBetweenRectangles" presStyleCnt="0"/>
      <dgm:spPr/>
    </dgm:pt>
    <dgm:pt modelId="{0D8230E8-8F4E-4EA2-9BCB-85A1B534D346}" type="pres">
      <dgm:prSet presAssocID="{82330155-0C0E-4088-B1A2-1C2F7C8F5CD4}" presName="composite" presStyleCnt="0"/>
      <dgm:spPr/>
    </dgm:pt>
    <dgm:pt modelId="{2F04E3C1-A035-4D05-999D-EB077865A2CE}" type="pres">
      <dgm:prSet presAssocID="{82330155-0C0E-4088-B1A2-1C2F7C8F5CD4}" presName="Parent1" presStyleLbl="node1" presStyleIdx="4" presStyleCnt="8" custScaleX="122178" custScaleY="113774" custLinFactNeighborX="21314" custLinFactNeighborY="-324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B62DC7-C5CF-474B-9BA6-402EB49E1821}" type="pres">
      <dgm:prSet presAssocID="{82330155-0C0E-4088-B1A2-1C2F7C8F5CD4}" presName="Childtext1" presStyleLbl="revTx" presStyleIdx="2" presStyleCnt="4" custScaleX="71324" custLinFactX="-77007" custLinFactNeighborX="-100000" custLinFactNeighborY="-207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512FAD-31FC-48DA-89CF-3756928EBFD1}" type="pres">
      <dgm:prSet presAssocID="{82330155-0C0E-4088-B1A2-1C2F7C8F5CD4}" presName="BalanceSpacing" presStyleCnt="0"/>
      <dgm:spPr/>
    </dgm:pt>
    <dgm:pt modelId="{EB6365EF-21D1-43A5-8C18-D1C5B620C0CD}" type="pres">
      <dgm:prSet presAssocID="{82330155-0C0E-4088-B1A2-1C2F7C8F5CD4}" presName="BalanceSpacing1" presStyleCnt="0"/>
      <dgm:spPr/>
    </dgm:pt>
    <dgm:pt modelId="{8F5831EF-2760-45F9-B2F7-B85713F0E392}" type="pres">
      <dgm:prSet presAssocID="{933E2F2C-DE39-44D8-963B-05113DDCA55A}" presName="Accent1Text" presStyleLbl="node1" presStyleIdx="5" presStyleCnt="8" custScaleX="122178" custScaleY="113993" custLinFactNeighborX="-3592" custLinFactNeighborY="-1119"/>
      <dgm:spPr/>
      <dgm:t>
        <a:bodyPr/>
        <a:lstStyle/>
        <a:p>
          <a:endParaRPr lang="ru-RU"/>
        </a:p>
      </dgm:t>
    </dgm:pt>
    <dgm:pt modelId="{9A7F61DE-0949-4773-8158-8C4BEB46A220}" type="pres">
      <dgm:prSet presAssocID="{933E2F2C-DE39-44D8-963B-05113DDCA55A}" presName="spaceBetweenRectangles" presStyleCnt="0"/>
      <dgm:spPr/>
    </dgm:pt>
    <dgm:pt modelId="{C3DBAAE3-659A-4867-8528-DFF158297179}" type="pres">
      <dgm:prSet presAssocID="{8686982B-7A32-4E1A-BA9C-1D9AB020D2A1}" presName="composite" presStyleCnt="0"/>
      <dgm:spPr/>
    </dgm:pt>
    <dgm:pt modelId="{3B491C9E-2B13-4911-B942-59CA2A0A21CC}" type="pres">
      <dgm:prSet presAssocID="{8686982B-7A32-4E1A-BA9C-1D9AB020D2A1}" presName="Parent1" presStyleLbl="node1" presStyleIdx="6" presStyleCnt="8" custScaleX="120520" custScaleY="114644" custLinFactX="-24937" custLinFactY="-96399" custLinFactNeighborX="-100000" custLinFactNeighborY="-10000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4A4257-49E3-47BA-B45C-6F85B3EBCFBE}" type="pres">
      <dgm:prSet presAssocID="{8686982B-7A32-4E1A-BA9C-1D9AB020D2A1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BCBC978E-72BD-45EF-8FD9-A02A2EC8913E}" type="pres">
      <dgm:prSet presAssocID="{8686982B-7A32-4E1A-BA9C-1D9AB020D2A1}" presName="BalanceSpacing" presStyleCnt="0"/>
      <dgm:spPr/>
    </dgm:pt>
    <dgm:pt modelId="{1671310C-12E9-4D67-BD17-BCC69491122A}" type="pres">
      <dgm:prSet presAssocID="{8686982B-7A32-4E1A-BA9C-1D9AB020D2A1}" presName="BalanceSpacing1" presStyleCnt="0"/>
      <dgm:spPr/>
    </dgm:pt>
    <dgm:pt modelId="{9304E9AA-067C-4B6A-A628-9CA41A8DB0DE}" type="pres">
      <dgm:prSet presAssocID="{45B415ED-C4D5-4FA6-8357-5143C07D7525}" presName="Accent1Text" presStyleLbl="node1" presStyleIdx="7" presStyleCnt="8" custScaleY="86932" custLinFactX="-160803" custLinFactY="-66457" custLinFactNeighborX="-200000" custLinFactNeighborY="-100000"/>
      <dgm:spPr/>
      <dgm:t>
        <a:bodyPr/>
        <a:lstStyle/>
        <a:p>
          <a:endParaRPr lang="ru-RU"/>
        </a:p>
      </dgm:t>
    </dgm:pt>
  </dgm:ptLst>
  <dgm:cxnLst>
    <dgm:cxn modelId="{C762F2C6-2008-48D2-8273-B4BD4285EF6B}" type="presOf" srcId="{5A41FC73-B76A-408B-87A1-78B4809738DF}" destId="{F8444CBD-76B7-40D6-A0B5-111243622298}" srcOrd="0" destOrd="0" presId="urn:microsoft.com/office/officeart/2008/layout/AlternatingHexagons"/>
    <dgm:cxn modelId="{F0209912-DDCA-4269-B65C-00A7ECAD12F1}" srcId="{83739902-388B-46FA-AC15-CF53BFB17FE3}" destId="{BCF99397-4C70-4C27-BD71-FF8BF39A7D88}" srcOrd="1" destOrd="0" parTransId="{38541760-82EF-4819-88BB-AB7DBD7EEA9D}" sibTransId="{7B29D8E8-5C91-4023-B9D0-E17E600E06D5}"/>
    <dgm:cxn modelId="{266AFC9E-FD74-4D48-AD90-74594941C7DE}" type="presOf" srcId="{8686982B-7A32-4E1A-BA9C-1D9AB020D2A1}" destId="{3B491C9E-2B13-4911-B942-59CA2A0A21CC}" srcOrd="0" destOrd="0" presId="urn:microsoft.com/office/officeart/2008/layout/AlternatingHexagons"/>
    <dgm:cxn modelId="{69ECF43F-25A9-4BCE-9C0F-A525BA701E85}" srcId="{83739902-388B-46FA-AC15-CF53BFB17FE3}" destId="{8686982B-7A32-4E1A-BA9C-1D9AB020D2A1}" srcOrd="3" destOrd="0" parTransId="{E7CEB234-6ABD-4C60-B45F-F61F15D33C25}" sibTransId="{45B415ED-C4D5-4FA6-8357-5143C07D7525}"/>
    <dgm:cxn modelId="{44049DC0-1EFE-4EB8-9444-AA83EAF8B93D}" type="presOf" srcId="{7B29D8E8-5C91-4023-B9D0-E17E600E06D5}" destId="{950F6B66-FD8E-4D49-B309-69BAC31718C2}" srcOrd="0" destOrd="0" presId="urn:microsoft.com/office/officeart/2008/layout/AlternatingHexagons"/>
    <dgm:cxn modelId="{5B59884E-6C09-4428-93B7-4D68D87F8B4A}" type="presOf" srcId="{406872ED-CD27-4765-BC2D-11944ADC4775}" destId="{46DA253E-002B-47C1-A681-4724E3308AA5}" srcOrd="0" destOrd="0" presId="urn:microsoft.com/office/officeart/2008/layout/AlternatingHexagons"/>
    <dgm:cxn modelId="{636B84E6-6FF5-4783-908F-7F949062C70A}" srcId="{406872ED-CD27-4765-BC2D-11944ADC4775}" destId="{5A41FC73-B76A-408B-87A1-78B4809738DF}" srcOrd="0" destOrd="0" parTransId="{CCB9CB62-80DE-4A69-93E0-C3DFB0D8CBD1}" sibTransId="{D7E8EFF9-EEB5-4680-A84D-B96B84247047}"/>
    <dgm:cxn modelId="{AFE1C656-0FB3-48AD-9CB4-9B7ABC239C08}" type="presOf" srcId="{45B415ED-C4D5-4FA6-8357-5143C07D7525}" destId="{9304E9AA-067C-4B6A-A628-9CA41A8DB0DE}" srcOrd="0" destOrd="0" presId="urn:microsoft.com/office/officeart/2008/layout/AlternatingHexagons"/>
    <dgm:cxn modelId="{CE68BBC0-1BC8-4032-99C4-236FC5DBE33F}" type="presOf" srcId="{B310C013-3EED-461C-A28C-D62C92BAA1D2}" destId="{1CB62DC7-C5CF-474B-9BA6-402EB49E1821}" srcOrd="0" destOrd="0" presId="urn:microsoft.com/office/officeart/2008/layout/AlternatingHexagons"/>
    <dgm:cxn modelId="{D2A76086-77F3-4F5B-9D54-FB782F77D324}" type="presOf" srcId="{82330155-0C0E-4088-B1A2-1C2F7C8F5CD4}" destId="{2F04E3C1-A035-4D05-999D-EB077865A2CE}" srcOrd="0" destOrd="0" presId="urn:microsoft.com/office/officeart/2008/layout/AlternatingHexagons"/>
    <dgm:cxn modelId="{A3BD670E-715A-4C35-AF9B-095421245824}" type="presOf" srcId="{83739902-388B-46FA-AC15-CF53BFB17FE3}" destId="{224CA158-ABBF-43A8-9924-28320115B5CE}" srcOrd="0" destOrd="0" presId="urn:microsoft.com/office/officeart/2008/layout/AlternatingHexagons"/>
    <dgm:cxn modelId="{522375F2-D2EE-48AF-A61A-1C8B556B5586}" type="presOf" srcId="{E5D6D45C-72E6-4DC7-9AF3-A93BD15BCDF2}" destId="{FB47B558-2D58-4589-AF34-7233E6E246BF}" srcOrd="0" destOrd="0" presId="urn:microsoft.com/office/officeart/2008/layout/AlternatingHexagons"/>
    <dgm:cxn modelId="{ED8F8454-6904-4D51-8E36-701361F5140C}" srcId="{BCF99397-4C70-4C27-BD71-FF8BF39A7D88}" destId="{E5D6D45C-72E6-4DC7-9AF3-A93BD15BCDF2}" srcOrd="0" destOrd="0" parTransId="{529364A3-521E-49CD-9FEB-8F5F1AAB9F7E}" sibTransId="{C585DB65-D45E-4A1F-B763-70BF7220DFA8}"/>
    <dgm:cxn modelId="{64F350AF-E3F6-4233-9D9C-D4AD7C47B017}" type="presOf" srcId="{D0A12E5F-821C-47B3-B74B-CBBFC1E85BAD}" destId="{B81FAE68-E99A-4660-8EE0-0FE4AD39E17B}" srcOrd="0" destOrd="0" presId="urn:microsoft.com/office/officeart/2008/layout/AlternatingHexagons"/>
    <dgm:cxn modelId="{1779F073-E9BB-4563-B95B-EEDC7721CD78}" srcId="{83739902-388B-46FA-AC15-CF53BFB17FE3}" destId="{406872ED-CD27-4765-BC2D-11944ADC4775}" srcOrd="0" destOrd="0" parTransId="{CD2BCFFA-4E94-4722-AAE5-19C36217A01E}" sibTransId="{D0A12E5F-821C-47B3-B74B-CBBFC1E85BAD}"/>
    <dgm:cxn modelId="{B31C7C62-CC09-45E7-98B7-1C2516D1CD0B}" type="presOf" srcId="{BCF99397-4C70-4C27-BD71-FF8BF39A7D88}" destId="{D110E32B-63B3-44B2-9296-890BFC6DFA91}" srcOrd="0" destOrd="0" presId="urn:microsoft.com/office/officeart/2008/layout/AlternatingHexagons"/>
    <dgm:cxn modelId="{DFC34034-884D-45A6-A69C-4DEA08B429F3}" type="presOf" srcId="{933E2F2C-DE39-44D8-963B-05113DDCA55A}" destId="{8F5831EF-2760-45F9-B2F7-B85713F0E392}" srcOrd="0" destOrd="0" presId="urn:microsoft.com/office/officeart/2008/layout/AlternatingHexagons"/>
    <dgm:cxn modelId="{869EDA7D-463A-4D05-9D64-6B48E0DEE668}" srcId="{83739902-388B-46FA-AC15-CF53BFB17FE3}" destId="{82330155-0C0E-4088-B1A2-1C2F7C8F5CD4}" srcOrd="2" destOrd="0" parTransId="{1D67F5E5-7305-4C4D-B18E-1CEB0B4FAE51}" sibTransId="{933E2F2C-DE39-44D8-963B-05113DDCA55A}"/>
    <dgm:cxn modelId="{007BE0DB-8246-4907-8B2B-6F642A295D8E}" srcId="{82330155-0C0E-4088-B1A2-1C2F7C8F5CD4}" destId="{B310C013-3EED-461C-A28C-D62C92BAA1D2}" srcOrd="0" destOrd="0" parTransId="{3E33027C-36F1-4E82-BE0E-FD6A7A28E7BF}" sibTransId="{067AC48B-7F10-4D03-AC75-BECF2577FB48}"/>
    <dgm:cxn modelId="{F6020187-7826-44ED-8652-E87B6778CA5E}" type="presParOf" srcId="{224CA158-ABBF-43A8-9924-28320115B5CE}" destId="{51050D2C-9460-4228-B10B-DFDA061088D8}" srcOrd="0" destOrd="0" presId="urn:microsoft.com/office/officeart/2008/layout/AlternatingHexagons"/>
    <dgm:cxn modelId="{A59843AA-981C-4EBC-8560-99278CE81F1C}" type="presParOf" srcId="{51050D2C-9460-4228-B10B-DFDA061088D8}" destId="{46DA253E-002B-47C1-A681-4724E3308AA5}" srcOrd="0" destOrd="0" presId="urn:microsoft.com/office/officeart/2008/layout/AlternatingHexagons"/>
    <dgm:cxn modelId="{7CC28D49-360B-4EE9-AF97-989CF5CB3F34}" type="presParOf" srcId="{51050D2C-9460-4228-B10B-DFDA061088D8}" destId="{F8444CBD-76B7-40D6-A0B5-111243622298}" srcOrd="1" destOrd="0" presId="urn:microsoft.com/office/officeart/2008/layout/AlternatingHexagons"/>
    <dgm:cxn modelId="{401D1CF1-EE70-4D84-93F7-A28CB82429F4}" type="presParOf" srcId="{51050D2C-9460-4228-B10B-DFDA061088D8}" destId="{872B6E4B-55E3-4CB8-B191-D01942CE3B4D}" srcOrd="2" destOrd="0" presId="urn:microsoft.com/office/officeart/2008/layout/AlternatingHexagons"/>
    <dgm:cxn modelId="{CFEB75DA-C978-4B0A-976F-2CB0535A2E7E}" type="presParOf" srcId="{51050D2C-9460-4228-B10B-DFDA061088D8}" destId="{F72E259A-9B29-4FE8-BB4B-A6B0BC1F0243}" srcOrd="3" destOrd="0" presId="urn:microsoft.com/office/officeart/2008/layout/AlternatingHexagons"/>
    <dgm:cxn modelId="{21B6E8AF-7175-45AF-A1A0-2783C80D7DAF}" type="presParOf" srcId="{51050D2C-9460-4228-B10B-DFDA061088D8}" destId="{B81FAE68-E99A-4660-8EE0-0FE4AD39E17B}" srcOrd="4" destOrd="0" presId="urn:microsoft.com/office/officeart/2008/layout/AlternatingHexagons"/>
    <dgm:cxn modelId="{294CF168-6960-4725-99B3-02736776535C}" type="presParOf" srcId="{224CA158-ABBF-43A8-9924-28320115B5CE}" destId="{493456F8-6554-405B-8DB6-65DA44B2F832}" srcOrd="1" destOrd="0" presId="urn:microsoft.com/office/officeart/2008/layout/AlternatingHexagons"/>
    <dgm:cxn modelId="{DB642F92-F0C3-4CCF-B9E3-E8203C47C0B2}" type="presParOf" srcId="{224CA158-ABBF-43A8-9924-28320115B5CE}" destId="{88CBD737-3990-4C0E-98A0-0F672CC775CA}" srcOrd="2" destOrd="0" presId="urn:microsoft.com/office/officeart/2008/layout/AlternatingHexagons"/>
    <dgm:cxn modelId="{219320EA-7E9D-4D59-A30E-BAE0DB1CAAE7}" type="presParOf" srcId="{88CBD737-3990-4C0E-98A0-0F672CC775CA}" destId="{D110E32B-63B3-44B2-9296-890BFC6DFA91}" srcOrd="0" destOrd="0" presId="urn:microsoft.com/office/officeart/2008/layout/AlternatingHexagons"/>
    <dgm:cxn modelId="{511505BC-35C9-4110-A234-13A779D4846F}" type="presParOf" srcId="{88CBD737-3990-4C0E-98A0-0F672CC775CA}" destId="{FB47B558-2D58-4589-AF34-7233E6E246BF}" srcOrd="1" destOrd="0" presId="urn:microsoft.com/office/officeart/2008/layout/AlternatingHexagons"/>
    <dgm:cxn modelId="{0288DDF9-3923-496D-A2B4-B720D4860ACF}" type="presParOf" srcId="{88CBD737-3990-4C0E-98A0-0F672CC775CA}" destId="{3DB3A679-2DBD-4EF4-8B47-7A29967477BD}" srcOrd="2" destOrd="0" presId="urn:microsoft.com/office/officeart/2008/layout/AlternatingHexagons"/>
    <dgm:cxn modelId="{05B2F25B-158F-4514-876D-221882555E2A}" type="presParOf" srcId="{88CBD737-3990-4C0E-98A0-0F672CC775CA}" destId="{B01B5E9F-D08D-4198-B1AE-44BD829B2D25}" srcOrd="3" destOrd="0" presId="urn:microsoft.com/office/officeart/2008/layout/AlternatingHexagons"/>
    <dgm:cxn modelId="{94E14E62-68FF-41D1-B649-1EBC584D14F8}" type="presParOf" srcId="{88CBD737-3990-4C0E-98A0-0F672CC775CA}" destId="{950F6B66-FD8E-4D49-B309-69BAC31718C2}" srcOrd="4" destOrd="0" presId="urn:microsoft.com/office/officeart/2008/layout/AlternatingHexagons"/>
    <dgm:cxn modelId="{E83D0104-4C20-4747-A998-191F336DF7E9}" type="presParOf" srcId="{224CA158-ABBF-43A8-9924-28320115B5CE}" destId="{3CC8672D-AAF4-4D86-8BE9-D1A72BFEC61F}" srcOrd="3" destOrd="0" presId="urn:microsoft.com/office/officeart/2008/layout/AlternatingHexagons"/>
    <dgm:cxn modelId="{FD678136-0C77-4F0C-9B40-CBF8FE9F85D9}" type="presParOf" srcId="{224CA158-ABBF-43A8-9924-28320115B5CE}" destId="{0D8230E8-8F4E-4EA2-9BCB-85A1B534D346}" srcOrd="4" destOrd="0" presId="urn:microsoft.com/office/officeart/2008/layout/AlternatingHexagons"/>
    <dgm:cxn modelId="{A25D229F-CE35-4841-9DFA-E3E513E8F614}" type="presParOf" srcId="{0D8230E8-8F4E-4EA2-9BCB-85A1B534D346}" destId="{2F04E3C1-A035-4D05-999D-EB077865A2CE}" srcOrd="0" destOrd="0" presId="urn:microsoft.com/office/officeart/2008/layout/AlternatingHexagons"/>
    <dgm:cxn modelId="{30B0FF6E-F3DF-44A3-98BA-CEBEF022691A}" type="presParOf" srcId="{0D8230E8-8F4E-4EA2-9BCB-85A1B534D346}" destId="{1CB62DC7-C5CF-474B-9BA6-402EB49E1821}" srcOrd="1" destOrd="0" presId="urn:microsoft.com/office/officeart/2008/layout/AlternatingHexagons"/>
    <dgm:cxn modelId="{97CABA6E-4D61-4F41-B9A3-92D4CE842436}" type="presParOf" srcId="{0D8230E8-8F4E-4EA2-9BCB-85A1B534D346}" destId="{76512FAD-31FC-48DA-89CF-3756928EBFD1}" srcOrd="2" destOrd="0" presId="urn:microsoft.com/office/officeart/2008/layout/AlternatingHexagons"/>
    <dgm:cxn modelId="{35413457-9F49-4AF3-8741-4EFAD6435A28}" type="presParOf" srcId="{0D8230E8-8F4E-4EA2-9BCB-85A1B534D346}" destId="{EB6365EF-21D1-43A5-8C18-D1C5B620C0CD}" srcOrd="3" destOrd="0" presId="urn:microsoft.com/office/officeart/2008/layout/AlternatingHexagons"/>
    <dgm:cxn modelId="{8B40538C-E768-49B3-B07A-AC9F72E64861}" type="presParOf" srcId="{0D8230E8-8F4E-4EA2-9BCB-85A1B534D346}" destId="{8F5831EF-2760-45F9-B2F7-B85713F0E392}" srcOrd="4" destOrd="0" presId="urn:microsoft.com/office/officeart/2008/layout/AlternatingHexagons"/>
    <dgm:cxn modelId="{8A0463E8-EF58-425B-A5CB-ABC48D4F15D9}" type="presParOf" srcId="{224CA158-ABBF-43A8-9924-28320115B5CE}" destId="{9A7F61DE-0949-4773-8158-8C4BEB46A220}" srcOrd="5" destOrd="0" presId="urn:microsoft.com/office/officeart/2008/layout/AlternatingHexagons"/>
    <dgm:cxn modelId="{3C3D1A71-EDEA-4659-92A4-32EC281D5378}" type="presParOf" srcId="{224CA158-ABBF-43A8-9924-28320115B5CE}" destId="{C3DBAAE3-659A-4867-8528-DFF158297179}" srcOrd="6" destOrd="0" presId="urn:microsoft.com/office/officeart/2008/layout/AlternatingHexagons"/>
    <dgm:cxn modelId="{D8CEB80E-CEED-4526-AFB6-66AE5CF9A4BD}" type="presParOf" srcId="{C3DBAAE3-659A-4867-8528-DFF158297179}" destId="{3B491C9E-2B13-4911-B942-59CA2A0A21CC}" srcOrd="0" destOrd="0" presId="urn:microsoft.com/office/officeart/2008/layout/AlternatingHexagons"/>
    <dgm:cxn modelId="{BE1A5EA9-CA10-4548-92E0-A047AFCF2FE9}" type="presParOf" srcId="{C3DBAAE3-659A-4867-8528-DFF158297179}" destId="{754A4257-49E3-47BA-B45C-6F85B3EBCFBE}" srcOrd="1" destOrd="0" presId="urn:microsoft.com/office/officeart/2008/layout/AlternatingHexagons"/>
    <dgm:cxn modelId="{19BB290B-5898-4673-AB41-90487DC6A6F3}" type="presParOf" srcId="{C3DBAAE3-659A-4867-8528-DFF158297179}" destId="{BCBC978E-72BD-45EF-8FD9-A02A2EC8913E}" srcOrd="2" destOrd="0" presId="urn:microsoft.com/office/officeart/2008/layout/AlternatingHexagons"/>
    <dgm:cxn modelId="{04BB7826-16E5-4606-B008-D2CFBBFC01F6}" type="presParOf" srcId="{C3DBAAE3-659A-4867-8528-DFF158297179}" destId="{1671310C-12E9-4D67-BD17-BCC69491122A}" srcOrd="3" destOrd="0" presId="urn:microsoft.com/office/officeart/2008/layout/AlternatingHexagons"/>
    <dgm:cxn modelId="{3673F0C8-C253-4B68-A4F5-2CBE067F4BC5}" type="presParOf" srcId="{C3DBAAE3-659A-4867-8528-DFF158297179}" destId="{9304E9AA-067C-4B6A-A628-9CA41A8DB0DE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A08D5B9-41B9-4483-A8E9-E3D7364095F0}" type="doc">
      <dgm:prSet loTypeId="urn:microsoft.com/office/officeart/2005/8/layout/cycle4" loCatId="cycle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E0233DA-77B1-4053-B687-2077EE87201A}">
      <dgm:prSet phldrT="[Текст]" custT="1"/>
      <dgm:spPr/>
      <dgm:t>
        <a:bodyPr/>
        <a:lstStyle/>
        <a:p>
          <a:r>
            <a:rPr lang="ru-RU" sz="1500" b="1" dirty="0" smtClean="0">
              <a:solidFill>
                <a:srgbClr val="2C5697"/>
              </a:solidFill>
            </a:rPr>
            <a:t>Заказ на поставку</a:t>
          </a:r>
          <a:endParaRPr lang="ru-RU" sz="1500" b="1" dirty="0">
            <a:solidFill>
              <a:srgbClr val="2C5697"/>
            </a:solidFill>
          </a:endParaRPr>
        </a:p>
      </dgm:t>
    </dgm:pt>
    <dgm:pt modelId="{DE339D62-C9BB-48A9-9EB0-2495D96A360A}" type="parTrans" cxnId="{D5AC9CD9-7511-4809-BE76-3649D15C79B8}">
      <dgm:prSet/>
      <dgm:spPr/>
      <dgm:t>
        <a:bodyPr/>
        <a:lstStyle/>
        <a:p>
          <a:endParaRPr lang="ru-RU"/>
        </a:p>
      </dgm:t>
    </dgm:pt>
    <dgm:pt modelId="{47B6D1A9-87AB-4E5D-82AC-CB81D32FE571}" type="sibTrans" cxnId="{D5AC9CD9-7511-4809-BE76-3649D15C79B8}">
      <dgm:prSet/>
      <dgm:spPr/>
      <dgm:t>
        <a:bodyPr/>
        <a:lstStyle/>
        <a:p>
          <a:endParaRPr lang="ru-RU"/>
        </a:p>
      </dgm:t>
    </dgm:pt>
    <dgm:pt modelId="{E1EB50F5-D4D8-49F1-A5DA-365D74260272}">
      <dgm:prSet phldrT="[Текст]" custT="1"/>
      <dgm:spPr/>
      <dgm:t>
        <a:bodyPr/>
        <a:lstStyle/>
        <a:p>
          <a:r>
            <a:rPr lang="ru-RU" sz="1400" dirty="0" smtClean="0"/>
            <a:t>Контроль статуса заказа </a:t>
          </a:r>
          <a:endParaRPr lang="ru-RU" sz="1400" dirty="0"/>
        </a:p>
      </dgm:t>
    </dgm:pt>
    <dgm:pt modelId="{76ED1523-B892-4A76-A8A4-243A28BCC6B7}" type="parTrans" cxnId="{E93F6AA2-674B-4AEB-9561-F9887B2E9F87}">
      <dgm:prSet/>
      <dgm:spPr/>
      <dgm:t>
        <a:bodyPr/>
        <a:lstStyle/>
        <a:p>
          <a:endParaRPr lang="ru-RU"/>
        </a:p>
      </dgm:t>
    </dgm:pt>
    <dgm:pt modelId="{A70BBF3B-6573-4781-A5CF-1A642EF721B2}" type="sibTrans" cxnId="{E93F6AA2-674B-4AEB-9561-F9887B2E9F87}">
      <dgm:prSet/>
      <dgm:spPr/>
      <dgm:t>
        <a:bodyPr/>
        <a:lstStyle/>
        <a:p>
          <a:endParaRPr lang="ru-RU"/>
        </a:p>
      </dgm:t>
    </dgm:pt>
    <dgm:pt modelId="{638552D0-D644-43EC-84AB-809D2FDFFF03}">
      <dgm:prSet phldrT="[Текст]" custT="1"/>
      <dgm:spPr/>
      <dgm:t>
        <a:bodyPr/>
        <a:lstStyle/>
        <a:p>
          <a:r>
            <a:rPr lang="ru-RU" sz="1500" b="1" dirty="0" smtClean="0">
              <a:solidFill>
                <a:srgbClr val="2C5697"/>
              </a:solidFill>
            </a:rPr>
            <a:t>Ответ на заказ на поставку</a:t>
          </a:r>
          <a:endParaRPr lang="ru-RU" sz="1500" b="1" dirty="0">
            <a:solidFill>
              <a:srgbClr val="2C5697"/>
            </a:solidFill>
          </a:endParaRPr>
        </a:p>
      </dgm:t>
    </dgm:pt>
    <dgm:pt modelId="{8407D887-9085-4017-9274-91F405B5B816}" type="parTrans" cxnId="{8035BFE7-4E4E-49A7-AFFA-3F9743F5D41B}">
      <dgm:prSet/>
      <dgm:spPr/>
      <dgm:t>
        <a:bodyPr/>
        <a:lstStyle/>
        <a:p>
          <a:endParaRPr lang="ru-RU"/>
        </a:p>
      </dgm:t>
    </dgm:pt>
    <dgm:pt modelId="{1B160ABF-590C-442E-B995-3832BB76C490}" type="sibTrans" cxnId="{8035BFE7-4E4E-49A7-AFFA-3F9743F5D41B}">
      <dgm:prSet/>
      <dgm:spPr/>
      <dgm:t>
        <a:bodyPr/>
        <a:lstStyle/>
        <a:p>
          <a:endParaRPr lang="ru-RU"/>
        </a:p>
      </dgm:t>
    </dgm:pt>
    <dgm:pt modelId="{362577FD-4AF4-4785-80CB-44EE5C951371}">
      <dgm:prSet phldrT="[Текст]" custT="1"/>
      <dgm:spPr/>
      <dgm:t>
        <a:bodyPr/>
        <a:lstStyle/>
        <a:p>
          <a:r>
            <a:rPr lang="ru-RU" sz="1400" dirty="0" smtClean="0"/>
            <a:t>Актуальность информации о поставке</a:t>
          </a:r>
          <a:endParaRPr lang="ru-RU" sz="1400" dirty="0"/>
        </a:p>
      </dgm:t>
    </dgm:pt>
    <dgm:pt modelId="{6141D475-2E4B-4767-9103-DFD1AA6DACD8}" type="parTrans" cxnId="{74C18228-4E6F-4196-988A-D99EAFFEF126}">
      <dgm:prSet/>
      <dgm:spPr/>
      <dgm:t>
        <a:bodyPr/>
        <a:lstStyle/>
        <a:p>
          <a:endParaRPr lang="ru-RU"/>
        </a:p>
      </dgm:t>
    </dgm:pt>
    <dgm:pt modelId="{CB900EC2-0BFC-4B94-BF95-0E2891866240}" type="sibTrans" cxnId="{74C18228-4E6F-4196-988A-D99EAFFEF126}">
      <dgm:prSet/>
      <dgm:spPr/>
      <dgm:t>
        <a:bodyPr/>
        <a:lstStyle/>
        <a:p>
          <a:endParaRPr lang="ru-RU"/>
        </a:p>
      </dgm:t>
    </dgm:pt>
    <dgm:pt modelId="{35A6A338-1CF4-47C8-B226-E5B64AA707C9}">
      <dgm:prSet phldrT="[Текст]" custT="1"/>
      <dgm:spPr/>
      <dgm:t>
        <a:bodyPr/>
        <a:lstStyle/>
        <a:p>
          <a:r>
            <a:rPr lang="ru-RU" sz="1500" b="1" dirty="0" smtClean="0">
              <a:solidFill>
                <a:srgbClr val="2C5697"/>
              </a:solidFill>
            </a:rPr>
            <a:t>Уведомление об отгрузке</a:t>
          </a:r>
          <a:endParaRPr lang="ru-RU" sz="1500" b="1" dirty="0">
            <a:solidFill>
              <a:srgbClr val="2C5697"/>
            </a:solidFill>
          </a:endParaRPr>
        </a:p>
      </dgm:t>
    </dgm:pt>
    <dgm:pt modelId="{02A864D7-3457-4231-A356-F4ABBF8CBE9E}" type="parTrans" cxnId="{6FDCE65C-F47A-41DB-8AB7-BAE35FDBB297}">
      <dgm:prSet/>
      <dgm:spPr/>
      <dgm:t>
        <a:bodyPr/>
        <a:lstStyle/>
        <a:p>
          <a:endParaRPr lang="ru-RU"/>
        </a:p>
      </dgm:t>
    </dgm:pt>
    <dgm:pt modelId="{B35A2A7A-C472-4DDC-ABA6-163ED7025D6B}" type="sibTrans" cxnId="{6FDCE65C-F47A-41DB-8AB7-BAE35FDBB297}">
      <dgm:prSet/>
      <dgm:spPr/>
      <dgm:t>
        <a:bodyPr/>
        <a:lstStyle/>
        <a:p>
          <a:endParaRPr lang="ru-RU"/>
        </a:p>
      </dgm:t>
    </dgm:pt>
    <dgm:pt modelId="{F1817765-17F1-498D-A20C-718A518D31F6}">
      <dgm:prSet phldrT="[Текст]" custT="1"/>
      <dgm:spPr/>
      <dgm:t>
        <a:bodyPr/>
        <a:lstStyle/>
        <a:p>
          <a:r>
            <a:rPr lang="ru-RU" sz="1400" dirty="0" smtClean="0"/>
            <a:t>Оптимизация процесса приемки</a:t>
          </a:r>
          <a:endParaRPr lang="ru-RU" sz="1400" dirty="0"/>
        </a:p>
      </dgm:t>
    </dgm:pt>
    <dgm:pt modelId="{8C12458C-30E1-44A8-93A3-01016D289758}" type="parTrans" cxnId="{84C4F244-580D-4631-BA32-CEC1976EB2DF}">
      <dgm:prSet/>
      <dgm:spPr/>
      <dgm:t>
        <a:bodyPr/>
        <a:lstStyle/>
        <a:p>
          <a:endParaRPr lang="ru-RU"/>
        </a:p>
      </dgm:t>
    </dgm:pt>
    <dgm:pt modelId="{5A569E18-35CD-4AA4-9088-FCD26F1FDE67}" type="sibTrans" cxnId="{84C4F244-580D-4631-BA32-CEC1976EB2DF}">
      <dgm:prSet/>
      <dgm:spPr/>
      <dgm:t>
        <a:bodyPr/>
        <a:lstStyle/>
        <a:p>
          <a:endParaRPr lang="ru-RU"/>
        </a:p>
      </dgm:t>
    </dgm:pt>
    <dgm:pt modelId="{BBA6EAA3-62FE-49C6-A4BF-426E0358A7E1}">
      <dgm:prSet phldrT="[Текст]" custT="1"/>
      <dgm:spPr/>
      <dgm:t>
        <a:bodyPr/>
        <a:lstStyle/>
        <a:p>
          <a:r>
            <a:rPr lang="ru-RU" sz="1500" b="1" dirty="0" smtClean="0">
              <a:solidFill>
                <a:srgbClr val="2C5697"/>
              </a:solidFill>
            </a:rPr>
            <a:t>Уведомление о приемке                (для </a:t>
          </a:r>
          <a:r>
            <a:rPr lang="en-US" sz="1500" b="1" dirty="0" smtClean="0">
              <a:solidFill>
                <a:srgbClr val="2C5697"/>
              </a:solidFill>
            </a:rPr>
            <a:t>EDI)</a:t>
          </a:r>
          <a:endParaRPr lang="ru-RU" sz="1500" b="1" dirty="0">
            <a:solidFill>
              <a:srgbClr val="2C5697"/>
            </a:solidFill>
          </a:endParaRPr>
        </a:p>
      </dgm:t>
    </dgm:pt>
    <dgm:pt modelId="{D8486425-6D8A-4DAA-A25F-E69AB5896D1E}" type="parTrans" cxnId="{8C5A24DC-6977-4274-B1B2-9E3873659D58}">
      <dgm:prSet/>
      <dgm:spPr/>
      <dgm:t>
        <a:bodyPr/>
        <a:lstStyle/>
        <a:p>
          <a:endParaRPr lang="ru-RU"/>
        </a:p>
      </dgm:t>
    </dgm:pt>
    <dgm:pt modelId="{33A7B988-A108-400D-8640-8161D3A4178B}" type="sibTrans" cxnId="{8C5A24DC-6977-4274-B1B2-9E3873659D58}">
      <dgm:prSet/>
      <dgm:spPr/>
      <dgm:t>
        <a:bodyPr/>
        <a:lstStyle/>
        <a:p>
          <a:endParaRPr lang="ru-RU"/>
        </a:p>
      </dgm:t>
    </dgm:pt>
    <dgm:pt modelId="{D396E11B-361D-4BEA-A4C7-A8AF053980C0}">
      <dgm:prSet phldrT="[Текст]" custT="1"/>
      <dgm:spPr/>
      <dgm:t>
        <a:bodyPr/>
        <a:lstStyle/>
        <a:p>
          <a:r>
            <a:rPr lang="ru-RU" sz="1400" dirty="0" smtClean="0"/>
            <a:t>Контроль доставки товара</a:t>
          </a:r>
          <a:endParaRPr lang="ru-RU" sz="1400" dirty="0"/>
        </a:p>
      </dgm:t>
    </dgm:pt>
    <dgm:pt modelId="{21845DB7-C8DA-4F29-BBA6-442A9866E089}" type="parTrans" cxnId="{BD174DB8-6684-4A1E-849D-C4E9D5DC1924}">
      <dgm:prSet/>
      <dgm:spPr/>
      <dgm:t>
        <a:bodyPr/>
        <a:lstStyle/>
        <a:p>
          <a:endParaRPr lang="ru-RU"/>
        </a:p>
      </dgm:t>
    </dgm:pt>
    <dgm:pt modelId="{54CE01E5-9704-4319-9F72-CA016A9686CB}" type="sibTrans" cxnId="{BD174DB8-6684-4A1E-849D-C4E9D5DC1924}">
      <dgm:prSet/>
      <dgm:spPr/>
      <dgm:t>
        <a:bodyPr/>
        <a:lstStyle/>
        <a:p>
          <a:endParaRPr lang="ru-RU"/>
        </a:p>
      </dgm:t>
    </dgm:pt>
    <dgm:pt modelId="{919969CA-BFE0-4CF2-B4AD-49DAD3A11D4D}">
      <dgm:prSet phldrT="[Текст]" custT="1"/>
      <dgm:spPr/>
      <dgm:t>
        <a:bodyPr/>
        <a:lstStyle/>
        <a:p>
          <a:r>
            <a:rPr lang="ru-RU" sz="1400" dirty="0" smtClean="0"/>
            <a:t>Подтверждение факта отправки заказа на поставку</a:t>
          </a:r>
          <a:endParaRPr lang="ru-RU" sz="1400" dirty="0"/>
        </a:p>
      </dgm:t>
    </dgm:pt>
    <dgm:pt modelId="{278D33EE-B56D-4E5B-A0E6-CD5D2A22C071}" type="parTrans" cxnId="{F1FEFC5D-74FF-47BE-BA97-0EFEFDE31D97}">
      <dgm:prSet/>
      <dgm:spPr/>
      <dgm:t>
        <a:bodyPr/>
        <a:lstStyle/>
        <a:p>
          <a:endParaRPr lang="ru-RU"/>
        </a:p>
      </dgm:t>
    </dgm:pt>
    <dgm:pt modelId="{0E5D4240-4065-437F-83C6-873CBED3D33C}" type="sibTrans" cxnId="{F1FEFC5D-74FF-47BE-BA97-0EFEFDE31D97}">
      <dgm:prSet/>
      <dgm:spPr/>
      <dgm:t>
        <a:bodyPr/>
        <a:lstStyle/>
        <a:p>
          <a:endParaRPr lang="ru-RU"/>
        </a:p>
      </dgm:t>
    </dgm:pt>
    <dgm:pt modelId="{AEBBDA07-B0EE-4250-9BAA-3932F95FAAFE}">
      <dgm:prSet phldrT="[Текст]" custT="1"/>
      <dgm:spPr/>
      <dgm:t>
        <a:bodyPr/>
        <a:lstStyle/>
        <a:p>
          <a:r>
            <a:rPr lang="ru-RU" sz="1400" dirty="0" smtClean="0"/>
            <a:t>Повышение надежности цепей поставок</a:t>
          </a:r>
          <a:endParaRPr lang="ru-RU" sz="1400" dirty="0"/>
        </a:p>
      </dgm:t>
    </dgm:pt>
    <dgm:pt modelId="{66E85EC6-7B8E-4DEF-9245-4B7E4E60EE7F}" type="parTrans" cxnId="{80B44FF5-8AF1-4DFA-82B8-434FD4FBD028}">
      <dgm:prSet/>
      <dgm:spPr/>
      <dgm:t>
        <a:bodyPr/>
        <a:lstStyle/>
        <a:p>
          <a:endParaRPr lang="ru-RU"/>
        </a:p>
      </dgm:t>
    </dgm:pt>
    <dgm:pt modelId="{B7435564-4D41-4E6C-9B18-CF1FF8CF1F23}" type="sibTrans" cxnId="{80B44FF5-8AF1-4DFA-82B8-434FD4FBD028}">
      <dgm:prSet/>
      <dgm:spPr/>
      <dgm:t>
        <a:bodyPr/>
        <a:lstStyle/>
        <a:p>
          <a:endParaRPr lang="ru-RU"/>
        </a:p>
      </dgm:t>
    </dgm:pt>
    <dgm:pt modelId="{6B7890DD-DD47-48DE-B30B-5067B50B7DA6}">
      <dgm:prSet phldrT="[Текст]" custT="1"/>
      <dgm:spPr/>
      <dgm:t>
        <a:bodyPr/>
        <a:lstStyle/>
        <a:p>
          <a:r>
            <a:rPr lang="ru-RU" sz="1400" dirty="0" smtClean="0"/>
            <a:t>Повышение бизнес-дисциплины</a:t>
          </a:r>
          <a:endParaRPr lang="ru-RU" sz="1400" dirty="0"/>
        </a:p>
      </dgm:t>
    </dgm:pt>
    <dgm:pt modelId="{E0ABD339-BC1A-4095-B040-40C7A010ACF8}" type="parTrans" cxnId="{3E94C28E-C1A2-4C5A-A1B5-43B081B2F523}">
      <dgm:prSet/>
      <dgm:spPr/>
      <dgm:t>
        <a:bodyPr/>
        <a:lstStyle/>
        <a:p>
          <a:endParaRPr lang="ru-RU"/>
        </a:p>
      </dgm:t>
    </dgm:pt>
    <dgm:pt modelId="{2FCB1B99-8804-4D80-92C7-3FB43678A75C}" type="sibTrans" cxnId="{3E94C28E-C1A2-4C5A-A1B5-43B081B2F523}">
      <dgm:prSet/>
      <dgm:spPr/>
      <dgm:t>
        <a:bodyPr/>
        <a:lstStyle/>
        <a:p>
          <a:endParaRPr lang="ru-RU"/>
        </a:p>
      </dgm:t>
    </dgm:pt>
    <dgm:pt modelId="{AAF17680-8860-44AC-BCC7-E2CCE720BA6F}">
      <dgm:prSet phldrT="[Текст]" custT="1"/>
      <dgm:spPr/>
      <dgm:t>
        <a:bodyPr/>
        <a:lstStyle/>
        <a:p>
          <a:r>
            <a:rPr lang="ru-RU" sz="1400" dirty="0" smtClean="0"/>
            <a:t>Повышение уровня и контроля поставки</a:t>
          </a:r>
          <a:endParaRPr lang="ru-RU" sz="1400" dirty="0"/>
        </a:p>
      </dgm:t>
    </dgm:pt>
    <dgm:pt modelId="{59294D44-8965-4166-825F-AF0E4B9D19C1}" type="parTrans" cxnId="{F5377F7E-6EA0-45E4-AA6A-3E821E0CA020}">
      <dgm:prSet/>
      <dgm:spPr/>
      <dgm:t>
        <a:bodyPr/>
        <a:lstStyle/>
        <a:p>
          <a:endParaRPr lang="ru-RU"/>
        </a:p>
      </dgm:t>
    </dgm:pt>
    <dgm:pt modelId="{8BB8C0E6-799A-4C49-8609-991BBB2A03E9}" type="sibTrans" cxnId="{F5377F7E-6EA0-45E4-AA6A-3E821E0CA020}">
      <dgm:prSet/>
      <dgm:spPr/>
      <dgm:t>
        <a:bodyPr/>
        <a:lstStyle/>
        <a:p>
          <a:endParaRPr lang="ru-RU"/>
        </a:p>
      </dgm:t>
    </dgm:pt>
    <dgm:pt modelId="{8D3B7FEB-605D-4C4B-BA26-61261C6863E1}">
      <dgm:prSet phldrT="[Текст]"/>
      <dgm:spPr/>
      <dgm:t>
        <a:bodyPr/>
        <a:lstStyle/>
        <a:p>
          <a:endParaRPr lang="ru-RU" sz="600" dirty="0"/>
        </a:p>
      </dgm:t>
    </dgm:pt>
    <dgm:pt modelId="{26BD6D16-56CF-4ED4-9470-4F1D27D69814}" type="parTrans" cxnId="{EFF17F1C-595F-46AE-B176-D4192A0CD039}">
      <dgm:prSet/>
      <dgm:spPr/>
      <dgm:t>
        <a:bodyPr/>
        <a:lstStyle/>
        <a:p>
          <a:endParaRPr lang="ru-RU"/>
        </a:p>
      </dgm:t>
    </dgm:pt>
    <dgm:pt modelId="{CFCA4579-D876-4B2F-AD0D-E8BCB423CD35}" type="sibTrans" cxnId="{EFF17F1C-595F-46AE-B176-D4192A0CD039}">
      <dgm:prSet/>
      <dgm:spPr/>
      <dgm:t>
        <a:bodyPr/>
        <a:lstStyle/>
        <a:p>
          <a:endParaRPr lang="ru-RU"/>
        </a:p>
      </dgm:t>
    </dgm:pt>
    <dgm:pt modelId="{AB13B01D-7270-4F0D-B14C-2D247C3589F1}">
      <dgm:prSet phldrT="[Текст]" custT="1"/>
      <dgm:spPr/>
      <dgm:t>
        <a:bodyPr/>
        <a:lstStyle/>
        <a:p>
          <a:r>
            <a:rPr lang="ru-RU" sz="1400" dirty="0" smtClean="0"/>
            <a:t>Снижение ошибок и исключение дублирования данных (при </a:t>
          </a:r>
          <a:r>
            <a:rPr lang="en-US" sz="1400" dirty="0" smtClean="0"/>
            <a:t>EDI</a:t>
          </a:r>
          <a:r>
            <a:rPr lang="ru-RU" sz="1400" dirty="0" smtClean="0"/>
            <a:t>)</a:t>
          </a:r>
          <a:endParaRPr lang="ru-RU" sz="1400" dirty="0"/>
        </a:p>
      </dgm:t>
    </dgm:pt>
    <dgm:pt modelId="{0BF19B87-EBB9-4825-A56D-06B287050422}" type="parTrans" cxnId="{87E805A0-AE95-457E-8037-794CF249AB71}">
      <dgm:prSet/>
      <dgm:spPr/>
      <dgm:t>
        <a:bodyPr/>
        <a:lstStyle/>
        <a:p>
          <a:endParaRPr lang="ru-RU"/>
        </a:p>
      </dgm:t>
    </dgm:pt>
    <dgm:pt modelId="{A9181A94-B12C-458A-A08C-FB138034682C}" type="sibTrans" cxnId="{87E805A0-AE95-457E-8037-794CF249AB71}">
      <dgm:prSet/>
      <dgm:spPr/>
      <dgm:t>
        <a:bodyPr/>
        <a:lstStyle/>
        <a:p>
          <a:endParaRPr lang="ru-RU"/>
        </a:p>
      </dgm:t>
    </dgm:pt>
    <dgm:pt modelId="{DF3711F2-12AC-4CD6-9A3C-90643830CFD5}">
      <dgm:prSet phldrT="[Текст]" custT="1"/>
      <dgm:spPr/>
      <dgm:t>
        <a:bodyPr/>
        <a:lstStyle/>
        <a:p>
          <a:r>
            <a:rPr lang="ru-RU" sz="1400" dirty="0" smtClean="0"/>
            <a:t> Сокращение времени на обработку данных</a:t>
          </a:r>
          <a:endParaRPr lang="ru-RU" sz="1400" dirty="0"/>
        </a:p>
      </dgm:t>
    </dgm:pt>
    <dgm:pt modelId="{8C0A7609-B8A8-45F1-B8A4-988F54D1947A}" type="parTrans" cxnId="{0FD096D2-A113-4C9F-A5E4-44D8D74A8348}">
      <dgm:prSet/>
      <dgm:spPr/>
      <dgm:t>
        <a:bodyPr/>
        <a:lstStyle/>
        <a:p>
          <a:endParaRPr lang="ru-RU"/>
        </a:p>
      </dgm:t>
    </dgm:pt>
    <dgm:pt modelId="{1D3244CA-664D-4B6C-9325-A6215669E791}" type="sibTrans" cxnId="{0FD096D2-A113-4C9F-A5E4-44D8D74A8348}">
      <dgm:prSet/>
      <dgm:spPr/>
      <dgm:t>
        <a:bodyPr/>
        <a:lstStyle/>
        <a:p>
          <a:endParaRPr lang="ru-RU"/>
        </a:p>
      </dgm:t>
    </dgm:pt>
    <dgm:pt modelId="{0614E28F-697D-4B57-8DB8-E28556845811}">
      <dgm:prSet phldrT="[Текст]" custT="1"/>
      <dgm:spPr/>
      <dgm:t>
        <a:bodyPr/>
        <a:lstStyle/>
        <a:p>
          <a:endParaRPr lang="ru-RU" sz="1100" dirty="0"/>
        </a:p>
      </dgm:t>
    </dgm:pt>
    <dgm:pt modelId="{9AC1A151-E5CE-41B1-9D21-DBD78E34E1C6}" type="parTrans" cxnId="{E6F28AB6-E72B-47A9-AD8C-B418D6ABB6EA}">
      <dgm:prSet/>
      <dgm:spPr/>
      <dgm:t>
        <a:bodyPr/>
        <a:lstStyle/>
        <a:p>
          <a:endParaRPr lang="ru-RU"/>
        </a:p>
      </dgm:t>
    </dgm:pt>
    <dgm:pt modelId="{F3AF0015-743E-44F0-BEAB-2BD94CD0F7F7}" type="sibTrans" cxnId="{E6F28AB6-E72B-47A9-AD8C-B418D6ABB6EA}">
      <dgm:prSet/>
      <dgm:spPr/>
      <dgm:t>
        <a:bodyPr/>
        <a:lstStyle/>
        <a:p>
          <a:endParaRPr lang="ru-RU"/>
        </a:p>
      </dgm:t>
    </dgm:pt>
    <dgm:pt modelId="{E54F7009-2341-40A4-957A-B63F84A74261}">
      <dgm:prSet phldrT="[Текст]" custT="1"/>
      <dgm:spPr/>
      <dgm:t>
        <a:bodyPr/>
        <a:lstStyle/>
        <a:p>
          <a:r>
            <a:rPr lang="ru-RU" sz="1400" dirty="0" smtClean="0"/>
            <a:t>Своевременное получение информации об отгрузке</a:t>
          </a:r>
          <a:endParaRPr lang="ru-RU" sz="1400" dirty="0"/>
        </a:p>
      </dgm:t>
    </dgm:pt>
    <dgm:pt modelId="{23BB7349-1C6E-4F43-BD99-1B230C0E6B74}" type="parTrans" cxnId="{B4864086-E608-420C-B7A8-42E21A0B3436}">
      <dgm:prSet/>
      <dgm:spPr/>
      <dgm:t>
        <a:bodyPr/>
        <a:lstStyle/>
        <a:p>
          <a:endParaRPr lang="ru-RU"/>
        </a:p>
      </dgm:t>
    </dgm:pt>
    <dgm:pt modelId="{9BFB44B4-11E7-4223-AA49-D45441E71702}" type="sibTrans" cxnId="{B4864086-E608-420C-B7A8-42E21A0B3436}">
      <dgm:prSet/>
      <dgm:spPr/>
      <dgm:t>
        <a:bodyPr/>
        <a:lstStyle/>
        <a:p>
          <a:endParaRPr lang="ru-RU"/>
        </a:p>
      </dgm:t>
    </dgm:pt>
    <dgm:pt modelId="{0E979611-16AF-4548-84A9-906687BD52BD}">
      <dgm:prSet phldrT="[Текст]" custT="1"/>
      <dgm:spPr/>
      <dgm:t>
        <a:bodyPr/>
        <a:lstStyle/>
        <a:p>
          <a:r>
            <a:rPr lang="ru-RU" sz="1400" dirty="0" smtClean="0"/>
            <a:t>Актуальная информация о фактически принятом товаре</a:t>
          </a:r>
          <a:endParaRPr lang="ru-RU" sz="1400" dirty="0"/>
        </a:p>
      </dgm:t>
    </dgm:pt>
    <dgm:pt modelId="{93A900F0-40EA-4A4C-906E-E5FBC5800B7C}" type="parTrans" cxnId="{124863A6-8B81-4D9C-97DE-EA75A01F8416}">
      <dgm:prSet/>
      <dgm:spPr/>
      <dgm:t>
        <a:bodyPr/>
        <a:lstStyle/>
        <a:p>
          <a:endParaRPr lang="ru-RU"/>
        </a:p>
      </dgm:t>
    </dgm:pt>
    <dgm:pt modelId="{3EC22307-0DAF-44C6-923A-9C0B5B6C3822}" type="sibTrans" cxnId="{124863A6-8B81-4D9C-97DE-EA75A01F8416}">
      <dgm:prSet/>
      <dgm:spPr/>
      <dgm:t>
        <a:bodyPr/>
        <a:lstStyle/>
        <a:p>
          <a:endParaRPr lang="ru-RU"/>
        </a:p>
      </dgm:t>
    </dgm:pt>
    <dgm:pt modelId="{0C98C940-8A0D-4337-96F6-D3B3777156B6}">
      <dgm:prSet phldrT="[Текст]" custT="1"/>
      <dgm:spPr/>
      <dgm:t>
        <a:bodyPr/>
        <a:lstStyle/>
        <a:p>
          <a:r>
            <a:rPr lang="ru-RU" sz="1400" dirty="0" smtClean="0"/>
            <a:t>Уменьшение ошибок в бухгалтерских документах</a:t>
          </a:r>
          <a:endParaRPr lang="ru-RU" sz="1400" dirty="0"/>
        </a:p>
      </dgm:t>
    </dgm:pt>
    <dgm:pt modelId="{3C83A722-8BAE-481B-BC33-3C6DD0E76B90}" type="parTrans" cxnId="{F2DFF4CF-27EB-40EA-85F8-218585E6AA99}">
      <dgm:prSet/>
      <dgm:spPr/>
      <dgm:t>
        <a:bodyPr/>
        <a:lstStyle/>
        <a:p>
          <a:endParaRPr lang="ru-RU"/>
        </a:p>
      </dgm:t>
    </dgm:pt>
    <dgm:pt modelId="{EE9B6DBD-1583-4F73-B20D-6A58F5060884}" type="sibTrans" cxnId="{F2DFF4CF-27EB-40EA-85F8-218585E6AA99}">
      <dgm:prSet/>
      <dgm:spPr/>
      <dgm:t>
        <a:bodyPr/>
        <a:lstStyle/>
        <a:p>
          <a:endParaRPr lang="ru-RU"/>
        </a:p>
      </dgm:t>
    </dgm:pt>
    <dgm:pt modelId="{750F05F0-F376-49C6-85B7-65855A420335}">
      <dgm:prSet phldrT="[Текст]" custT="1"/>
      <dgm:spPr/>
      <dgm:t>
        <a:bodyPr/>
        <a:lstStyle/>
        <a:p>
          <a:r>
            <a:rPr lang="ru-RU" sz="1400" dirty="0" smtClean="0"/>
            <a:t>Автоматическое создание входящей поставки</a:t>
          </a:r>
          <a:endParaRPr lang="ru-RU" sz="1400" dirty="0"/>
        </a:p>
      </dgm:t>
    </dgm:pt>
    <dgm:pt modelId="{9EDD5BF7-BD79-45FA-8783-F02B745AD001}" type="parTrans" cxnId="{D4C3EF3A-9EFE-4951-BEA0-6B56784D2957}">
      <dgm:prSet/>
      <dgm:spPr/>
      <dgm:t>
        <a:bodyPr/>
        <a:lstStyle/>
        <a:p>
          <a:endParaRPr lang="ru-RU"/>
        </a:p>
      </dgm:t>
    </dgm:pt>
    <dgm:pt modelId="{AE5B967D-BD22-4AEA-8CD2-6728A5C55E1C}" type="sibTrans" cxnId="{D4C3EF3A-9EFE-4951-BEA0-6B56784D2957}">
      <dgm:prSet/>
      <dgm:spPr/>
      <dgm:t>
        <a:bodyPr/>
        <a:lstStyle/>
        <a:p>
          <a:endParaRPr lang="ru-RU"/>
        </a:p>
      </dgm:t>
    </dgm:pt>
    <dgm:pt modelId="{4CAB4370-B882-49D0-A465-F6365CBD93F1}" type="pres">
      <dgm:prSet presAssocID="{BA08D5B9-41B9-4483-A8E9-E3D7364095F0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2A0E336-B874-4403-B0B2-981A3DAA7F03}" type="pres">
      <dgm:prSet presAssocID="{BA08D5B9-41B9-4483-A8E9-E3D7364095F0}" presName="children" presStyleCnt="0"/>
      <dgm:spPr/>
    </dgm:pt>
    <dgm:pt modelId="{2C89BA69-B433-46C0-8523-0CA26EC6BD3C}" type="pres">
      <dgm:prSet presAssocID="{BA08D5B9-41B9-4483-A8E9-E3D7364095F0}" presName="child1group" presStyleCnt="0"/>
      <dgm:spPr/>
    </dgm:pt>
    <dgm:pt modelId="{0E25884C-E415-41EB-9FE7-8161A789134F}" type="pres">
      <dgm:prSet presAssocID="{BA08D5B9-41B9-4483-A8E9-E3D7364095F0}" presName="child1" presStyleLbl="bgAcc1" presStyleIdx="0" presStyleCnt="4" custScaleX="150346" custScaleY="171631" custLinFactNeighborX="3329" custLinFactNeighborY="13340"/>
      <dgm:spPr/>
      <dgm:t>
        <a:bodyPr/>
        <a:lstStyle/>
        <a:p>
          <a:endParaRPr lang="ru-RU"/>
        </a:p>
      </dgm:t>
    </dgm:pt>
    <dgm:pt modelId="{E25F2832-B6AA-4C86-9E69-DF31B1DF6740}" type="pres">
      <dgm:prSet presAssocID="{BA08D5B9-41B9-4483-A8E9-E3D7364095F0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EC71D8-F264-4736-96A5-DBF05DB5F748}" type="pres">
      <dgm:prSet presAssocID="{BA08D5B9-41B9-4483-A8E9-E3D7364095F0}" presName="child2group" presStyleCnt="0"/>
      <dgm:spPr/>
    </dgm:pt>
    <dgm:pt modelId="{20199CF4-F111-4C14-AF48-612DBA23F402}" type="pres">
      <dgm:prSet presAssocID="{BA08D5B9-41B9-4483-A8E9-E3D7364095F0}" presName="child2" presStyleLbl="bgAcc1" presStyleIdx="1" presStyleCnt="4" custScaleX="150270" custScaleY="171682" custLinFactNeighborX="-4150" custLinFactNeighborY="12232"/>
      <dgm:spPr/>
      <dgm:t>
        <a:bodyPr/>
        <a:lstStyle/>
        <a:p>
          <a:endParaRPr lang="ru-RU"/>
        </a:p>
      </dgm:t>
    </dgm:pt>
    <dgm:pt modelId="{AB9BC375-B7FB-40D4-B522-B36D68C42B99}" type="pres">
      <dgm:prSet presAssocID="{BA08D5B9-41B9-4483-A8E9-E3D7364095F0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FAA951-EB86-45BE-A4D7-A2E65BCB9628}" type="pres">
      <dgm:prSet presAssocID="{BA08D5B9-41B9-4483-A8E9-E3D7364095F0}" presName="child3group" presStyleCnt="0"/>
      <dgm:spPr/>
    </dgm:pt>
    <dgm:pt modelId="{C7457D68-2598-40D9-AFC5-DAA26A1C9BC9}" type="pres">
      <dgm:prSet presAssocID="{BA08D5B9-41B9-4483-A8E9-E3D7364095F0}" presName="child3" presStyleLbl="bgAcc1" presStyleIdx="2" presStyleCnt="4" custScaleX="150270" custScaleY="171697" custLinFactNeighborX="-3191" custLinFactNeighborY="-13935"/>
      <dgm:spPr/>
      <dgm:t>
        <a:bodyPr/>
        <a:lstStyle/>
        <a:p>
          <a:endParaRPr lang="ru-RU"/>
        </a:p>
      </dgm:t>
    </dgm:pt>
    <dgm:pt modelId="{A05E8F1E-EB61-4C0F-9BF3-D9F5321B3BC9}" type="pres">
      <dgm:prSet presAssocID="{BA08D5B9-41B9-4483-A8E9-E3D7364095F0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1F2C23-7A35-4667-AF8F-BE203EEDF03F}" type="pres">
      <dgm:prSet presAssocID="{BA08D5B9-41B9-4483-A8E9-E3D7364095F0}" presName="child4group" presStyleCnt="0"/>
      <dgm:spPr/>
    </dgm:pt>
    <dgm:pt modelId="{39F84A70-90C4-4C48-889A-EF56A0E63256}" type="pres">
      <dgm:prSet presAssocID="{BA08D5B9-41B9-4483-A8E9-E3D7364095F0}" presName="child4" presStyleLbl="bgAcc1" presStyleIdx="3" presStyleCnt="4" custScaleX="150270" custScaleY="171688" custLinFactNeighborX="2838" custLinFactNeighborY="-13931"/>
      <dgm:spPr/>
      <dgm:t>
        <a:bodyPr/>
        <a:lstStyle/>
        <a:p>
          <a:endParaRPr lang="ru-RU"/>
        </a:p>
      </dgm:t>
    </dgm:pt>
    <dgm:pt modelId="{45C49664-664C-4A4F-A377-EC9A50413B59}" type="pres">
      <dgm:prSet presAssocID="{BA08D5B9-41B9-4483-A8E9-E3D7364095F0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AC898D-88CC-4A12-A48D-9F7125DE1DD0}" type="pres">
      <dgm:prSet presAssocID="{BA08D5B9-41B9-4483-A8E9-E3D7364095F0}" presName="childPlaceholder" presStyleCnt="0"/>
      <dgm:spPr/>
    </dgm:pt>
    <dgm:pt modelId="{59520AAC-19AA-4333-A852-92F8688635C9}" type="pres">
      <dgm:prSet presAssocID="{BA08D5B9-41B9-4483-A8E9-E3D7364095F0}" presName="circle" presStyleCnt="0"/>
      <dgm:spPr/>
    </dgm:pt>
    <dgm:pt modelId="{10D7315C-3C5D-4709-83E6-90BEC6C5DDF6}" type="pres">
      <dgm:prSet presAssocID="{BA08D5B9-41B9-4483-A8E9-E3D7364095F0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C8D83D-8BBB-4E7C-AB76-630DCEE937E9}" type="pres">
      <dgm:prSet presAssocID="{BA08D5B9-41B9-4483-A8E9-E3D7364095F0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79EBF9-83C1-471E-8AC8-6B4B2809794F}" type="pres">
      <dgm:prSet presAssocID="{BA08D5B9-41B9-4483-A8E9-E3D7364095F0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5B05CA-5EAC-41F1-8251-45DC8C7A0C88}" type="pres">
      <dgm:prSet presAssocID="{BA08D5B9-41B9-4483-A8E9-E3D7364095F0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BD015D-85A9-4382-A074-948271D63C07}" type="pres">
      <dgm:prSet presAssocID="{BA08D5B9-41B9-4483-A8E9-E3D7364095F0}" presName="quadrantPlaceholder" presStyleCnt="0"/>
      <dgm:spPr/>
    </dgm:pt>
    <dgm:pt modelId="{95A06C81-14A7-4847-983C-97E1134E3180}" type="pres">
      <dgm:prSet presAssocID="{BA08D5B9-41B9-4483-A8E9-E3D7364095F0}" presName="center1" presStyleLbl="fgShp" presStyleIdx="0" presStyleCnt="2"/>
      <dgm:spPr/>
    </dgm:pt>
    <dgm:pt modelId="{1D22C0F5-203A-4BBA-BD40-BAAA5E437F41}" type="pres">
      <dgm:prSet presAssocID="{BA08D5B9-41B9-4483-A8E9-E3D7364095F0}" presName="center2" presStyleLbl="fgShp" presStyleIdx="1" presStyleCnt="2"/>
      <dgm:spPr/>
    </dgm:pt>
  </dgm:ptLst>
  <dgm:cxnLst>
    <dgm:cxn modelId="{0565531E-9E6B-4A0D-938F-1447EF78CA66}" type="presOf" srcId="{0E979611-16AF-4548-84A9-906687BD52BD}" destId="{39F84A70-90C4-4C48-889A-EF56A0E63256}" srcOrd="0" destOrd="1" presId="urn:microsoft.com/office/officeart/2005/8/layout/cycle4"/>
    <dgm:cxn modelId="{42DF2215-97D0-4A72-9749-3CAE57A360E7}" type="presOf" srcId="{E54F7009-2341-40A4-957A-B63F84A74261}" destId="{A05E8F1E-EB61-4C0F-9BF3-D9F5321B3BC9}" srcOrd="1" destOrd="0" presId="urn:microsoft.com/office/officeart/2005/8/layout/cycle4"/>
    <dgm:cxn modelId="{E6F28AB6-E72B-47A9-AD8C-B418D6ABB6EA}" srcId="{35A6A338-1CF4-47C8-B226-E5B64AA707C9}" destId="{0614E28F-697D-4B57-8DB8-E28556845811}" srcOrd="4" destOrd="0" parTransId="{9AC1A151-E5CE-41B1-9D21-DBD78E34E1C6}" sibTransId="{F3AF0015-743E-44F0-BEAB-2BD94CD0F7F7}"/>
    <dgm:cxn modelId="{5F3F6ABE-D6AC-4E35-8610-AC46863FDE1A}" type="presOf" srcId="{0C98C940-8A0D-4337-96F6-D3B3777156B6}" destId="{45C49664-664C-4A4F-A377-EC9A50413B59}" srcOrd="1" destOrd="2" presId="urn:microsoft.com/office/officeart/2005/8/layout/cycle4"/>
    <dgm:cxn modelId="{80F12555-4E2E-467E-BB05-656586E47070}" type="presOf" srcId="{BBA6EAA3-62FE-49C6-A4BF-426E0358A7E1}" destId="{265B05CA-5EAC-41F1-8251-45DC8C7A0C88}" srcOrd="0" destOrd="0" presId="urn:microsoft.com/office/officeart/2005/8/layout/cycle4"/>
    <dgm:cxn modelId="{4DE771C2-F6B8-4182-91C3-AA8EB60A4EA9}" type="presOf" srcId="{D396E11B-361D-4BEA-A4C7-A8AF053980C0}" destId="{45C49664-664C-4A4F-A377-EC9A50413B59}" srcOrd="1" destOrd="0" presId="urn:microsoft.com/office/officeart/2005/8/layout/cycle4"/>
    <dgm:cxn modelId="{0FD096D2-A113-4C9F-A5E4-44D8D74A8348}" srcId="{35A6A338-1CF4-47C8-B226-E5B64AA707C9}" destId="{DF3711F2-12AC-4CD6-9A3C-90643830CFD5}" srcOrd="2" destOrd="0" parTransId="{8C0A7609-B8A8-45F1-B8A4-988F54D1947A}" sibTransId="{1D3244CA-664D-4B6C-9325-A6215669E791}"/>
    <dgm:cxn modelId="{FCE965AC-5CD0-4FE1-9ABC-AFD7555BBD30}" type="presOf" srcId="{6B7890DD-DD47-48DE-B30B-5067B50B7DA6}" destId="{E25F2832-B6AA-4C86-9E69-DF31B1DF6740}" srcOrd="1" destOrd="3" presId="urn:microsoft.com/office/officeart/2005/8/layout/cycle4"/>
    <dgm:cxn modelId="{27B90870-2360-4587-9901-32D5DB83054B}" type="presOf" srcId="{AEBBDA07-B0EE-4250-9BAA-3932F95FAAFE}" destId="{0E25884C-E415-41EB-9FE7-8161A789134F}" srcOrd="0" destOrd="2" presId="urn:microsoft.com/office/officeart/2005/8/layout/cycle4"/>
    <dgm:cxn modelId="{360EE36E-B2E9-48D2-9B4A-F66DDFA40C4F}" type="presOf" srcId="{35A6A338-1CF4-47C8-B226-E5B64AA707C9}" destId="{CF79EBF9-83C1-471E-8AC8-6B4B2809794F}" srcOrd="0" destOrd="0" presId="urn:microsoft.com/office/officeart/2005/8/layout/cycle4"/>
    <dgm:cxn modelId="{620F9E3B-EB7E-4311-898D-5589C18CD660}" type="presOf" srcId="{BA08D5B9-41B9-4483-A8E9-E3D7364095F0}" destId="{4CAB4370-B882-49D0-A465-F6365CBD93F1}" srcOrd="0" destOrd="0" presId="urn:microsoft.com/office/officeart/2005/8/layout/cycle4"/>
    <dgm:cxn modelId="{A19B6211-A30C-49FB-8B30-A17A600C9E23}" type="presOf" srcId="{8D3B7FEB-605D-4C4B-BA26-61261C6863E1}" destId="{AB9BC375-B7FB-40D4-B522-B36D68C42B99}" srcOrd="1" destOrd="3" presId="urn:microsoft.com/office/officeart/2005/8/layout/cycle4"/>
    <dgm:cxn modelId="{84C4F244-580D-4631-BA32-CEC1976EB2DF}" srcId="{35A6A338-1CF4-47C8-B226-E5B64AA707C9}" destId="{F1817765-17F1-498D-A20C-718A518D31F6}" srcOrd="1" destOrd="0" parTransId="{8C12458C-30E1-44A8-93A3-01016D289758}" sibTransId="{5A569E18-35CD-4AA4-9088-FCD26F1FDE67}"/>
    <dgm:cxn modelId="{537BD11B-C9A7-4A0D-A60A-9A1F758AF312}" type="presOf" srcId="{750F05F0-F376-49C6-85B7-65855A420335}" destId="{A05E8F1E-EB61-4C0F-9BF3-D9F5321B3BC9}" srcOrd="1" destOrd="3" presId="urn:microsoft.com/office/officeart/2005/8/layout/cycle4"/>
    <dgm:cxn modelId="{33D52DDF-98CC-4CA8-A940-3CBC44F8EFF8}" type="presOf" srcId="{E1EB50F5-D4D8-49F1-A5DA-365D74260272}" destId="{E25F2832-B6AA-4C86-9E69-DF31B1DF6740}" srcOrd="1" destOrd="0" presId="urn:microsoft.com/office/officeart/2005/8/layout/cycle4"/>
    <dgm:cxn modelId="{C744A32D-FA92-4977-A476-97BB2C092262}" type="presOf" srcId="{1E0233DA-77B1-4053-B687-2077EE87201A}" destId="{10D7315C-3C5D-4709-83E6-90BEC6C5DDF6}" srcOrd="0" destOrd="0" presId="urn:microsoft.com/office/officeart/2005/8/layout/cycle4"/>
    <dgm:cxn modelId="{4F4CF5B6-8991-45B8-B699-DCA450D37B15}" type="presOf" srcId="{0C98C940-8A0D-4337-96F6-D3B3777156B6}" destId="{39F84A70-90C4-4C48-889A-EF56A0E63256}" srcOrd="0" destOrd="2" presId="urn:microsoft.com/office/officeart/2005/8/layout/cycle4"/>
    <dgm:cxn modelId="{A23538D0-596F-4167-853F-EDCE70528532}" type="presOf" srcId="{0614E28F-697D-4B57-8DB8-E28556845811}" destId="{C7457D68-2598-40D9-AFC5-DAA26A1C9BC9}" srcOrd="0" destOrd="4" presId="urn:microsoft.com/office/officeart/2005/8/layout/cycle4"/>
    <dgm:cxn modelId="{D4C3EF3A-9EFE-4951-BEA0-6B56784D2957}" srcId="{35A6A338-1CF4-47C8-B226-E5B64AA707C9}" destId="{750F05F0-F376-49C6-85B7-65855A420335}" srcOrd="3" destOrd="0" parTransId="{9EDD5BF7-BD79-45FA-8783-F02B745AD001}" sibTransId="{AE5B967D-BD22-4AEA-8CD2-6728A5C55E1C}"/>
    <dgm:cxn modelId="{F1FEFC5D-74FF-47BE-BA97-0EFEFDE31D97}" srcId="{1E0233DA-77B1-4053-B687-2077EE87201A}" destId="{919969CA-BFE0-4CF2-B4AD-49DAD3A11D4D}" srcOrd="1" destOrd="0" parTransId="{278D33EE-B56D-4E5B-A0E6-CD5D2A22C071}" sibTransId="{0E5D4240-4065-437F-83C6-873CBED3D33C}"/>
    <dgm:cxn modelId="{540E9823-ABF6-4171-8422-AF90D7544F6D}" type="presOf" srcId="{AB13B01D-7270-4F0D-B14C-2D247C3589F1}" destId="{AB9BC375-B7FB-40D4-B522-B36D68C42B99}" srcOrd="1" destOrd="2" presId="urn:microsoft.com/office/officeart/2005/8/layout/cycle4"/>
    <dgm:cxn modelId="{E2213615-2907-4527-A3C5-E695406F12D7}" type="presOf" srcId="{DF3711F2-12AC-4CD6-9A3C-90643830CFD5}" destId="{C7457D68-2598-40D9-AFC5-DAA26A1C9BC9}" srcOrd="0" destOrd="2" presId="urn:microsoft.com/office/officeart/2005/8/layout/cycle4"/>
    <dgm:cxn modelId="{09CAA911-3C3A-4DAA-99E3-9FCA757D653E}" type="presOf" srcId="{D396E11B-361D-4BEA-A4C7-A8AF053980C0}" destId="{39F84A70-90C4-4C48-889A-EF56A0E63256}" srcOrd="0" destOrd="0" presId="urn:microsoft.com/office/officeart/2005/8/layout/cycle4"/>
    <dgm:cxn modelId="{4E9EE46D-610A-49ED-AAB9-9644BA2EA213}" type="presOf" srcId="{DF3711F2-12AC-4CD6-9A3C-90643830CFD5}" destId="{A05E8F1E-EB61-4C0F-9BF3-D9F5321B3BC9}" srcOrd="1" destOrd="2" presId="urn:microsoft.com/office/officeart/2005/8/layout/cycle4"/>
    <dgm:cxn modelId="{1EAD6D7E-BFD2-4EA3-A4D3-F6C450E073A9}" type="presOf" srcId="{750F05F0-F376-49C6-85B7-65855A420335}" destId="{C7457D68-2598-40D9-AFC5-DAA26A1C9BC9}" srcOrd="0" destOrd="3" presId="urn:microsoft.com/office/officeart/2005/8/layout/cycle4"/>
    <dgm:cxn modelId="{0557695A-CAA2-4668-B058-C42D11190E02}" type="presOf" srcId="{F1817765-17F1-498D-A20C-718A518D31F6}" destId="{A05E8F1E-EB61-4C0F-9BF3-D9F5321B3BC9}" srcOrd="1" destOrd="1" presId="urn:microsoft.com/office/officeart/2005/8/layout/cycle4"/>
    <dgm:cxn modelId="{80B44FF5-8AF1-4DFA-82B8-434FD4FBD028}" srcId="{1E0233DA-77B1-4053-B687-2077EE87201A}" destId="{AEBBDA07-B0EE-4250-9BAA-3932F95FAAFE}" srcOrd="2" destOrd="0" parTransId="{66E85EC6-7B8E-4DEF-9245-4B7E4E60EE7F}" sibTransId="{B7435564-4D41-4E6C-9B18-CF1FF8CF1F23}"/>
    <dgm:cxn modelId="{6829F82A-9506-4F62-9ADA-1A3E95BBBA09}" type="presOf" srcId="{0614E28F-697D-4B57-8DB8-E28556845811}" destId="{A05E8F1E-EB61-4C0F-9BF3-D9F5321B3BC9}" srcOrd="1" destOrd="4" presId="urn:microsoft.com/office/officeart/2005/8/layout/cycle4"/>
    <dgm:cxn modelId="{D5AC9CD9-7511-4809-BE76-3649D15C79B8}" srcId="{BA08D5B9-41B9-4483-A8E9-E3D7364095F0}" destId="{1E0233DA-77B1-4053-B687-2077EE87201A}" srcOrd="0" destOrd="0" parTransId="{DE339D62-C9BB-48A9-9EB0-2495D96A360A}" sibTransId="{47B6D1A9-87AB-4E5D-82AC-CB81D32FE571}"/>
    <dgm:cxn modelId="{6AC0A33E-3243-4B9A-8934-D05E80916D30}" type="presOf" srcId="{8D3B7FEB-605D-4C4B-BA26-61261C6863E1}" destId="{20199CF4-F111-4C14-AF48-612DBA23F402}" srcOrd="0" destOrd="3" presId="urn:microsoft.com/office/officeart/2005/8/layout/cycle4"/>
    <dgm:cxn modelId="{4A474F39-C356-4E59-959C-817941018CF9}" type="presOf" srcId="{638552D0-D644-43EC-84AB-809D2FDFFF03}" destId="{D4C8D83D-8BBB-4E7C-AB76-630DCEE937E9}" srcOrd="0" destOrd="0" presId="urn:microsoft.com/office/officeart/2005/8/layout/cycle4"/>
    <dgm:cxn modelId="{8C5A24DC-6977-4274-B1B2-9E3873659D58}" srcId="{BA08D5B9-41B9-4483-A8E9-E3D7364095F0}" destId="{BBA6EAA3-62FE-49C6-A4BF-426E0358A7E1}" srcOrd="3" destOrd="0" parTransId="{D8486425-6D8A-4DAA-A25F-E69AB5896D1E}" sibTransId="{33A7B988-A108-400D-8640-8161D3A4178B}"/>
    <dgm:cxn modelId="{DEC55FE9-626D-4435-B5BE-A186C2875913}" type="presOf" srcId="{AAF17680-8860-44AC-BCC7-E2CCE720BA6F}" destId="{AB9BC375-B7FB-40D4-B522-B36D68C42B99}" srcOrd="1" destOrd="1" presId="urn:microsoft.com/office/officeart/2005/8/layout/cycle4"/>
    <dgm:cxn modelId="{F5377F7E-6EA0-45E4-AA6A-3E821E0CA020}" srcId="{638552D0-D644-43EC-84AB-809D2FDFFF03}" destId="{AAF17680-8860-44AC-BCC7-E2CCE720BA6F}" srcOrd="1" destOrd="0" parTransId="{59294D44-8965-4166-825F-AF0E4B9D19C1}" sibTransId="{8BB8C0E6-799A-4C49-8609-991BBB2A03E9}"/>
    <dgm:cxn modelId="{93309731-6CC8-4B8C-93F3-EE87E7559E25}" type="presOf" srcId="{AEBBDA07-B0EE-4250-9BAA-3932F95FAAFE}" destId="{E25F2832-B6AA-4C86-9E69-DF31B1DF6740}" srcOrd="1" destOrd="2" presId="urn:microsoft.com/office/officeart/2005/8/layout/cycle4"/>
    <dgm:cxn modelId="{B4864086-E608-420C-B7A8-42E21A0B3436}" srcId="{35A6A338-1CF4-47C8-B226-E5B64AA707C9}" destId="{E54F7009-2341-40A4-957A-B63F84A74261}" srcOrd="0" destOrd="0" parTransId="{23BB7349-1C6E-4F43-BD99-1B230C0E6B74}" sibTransId="{9BFB44B4-11E7-4223-AA49-D45441E71702}"/>
    <dgm:cxn modelId="{EFF17F1C-595F-46AE-B176-D4192A0CD039}" srcId="{638552D0-D644-43EC-84AB-809D2FDFFF03}" destId="{8D3B7FEB-605D-4C4B-BA26-61261C6863E1}" srcOrd="3" destOrd="0" parTransId="{26BD6D16-56CF-4ED4-9470-4F1D27D69814}" sibTransId="{CFCA4579-D876-4B2F-AD0D-E8BCB423CD35}"/>
    <dgm:cxn modelId="{8035BFE7-4E4E-49A7-AFFA-3F9743F5D41B}" srcId="{BA08D5B9-41B9-4483-A8E9-E3D7364095F0}" destId="{638552D0-D644-43EC-84AB-809D2FDFFF03}" srcOrd="1" destOrd="0" parTransId="{8407D887-9085-4017-9274-91F405B5B816}" sibTransId="{1B160ABF-590C-442E-B995-3832BB76C490}"/>
    <dgm:cxn modelId="{E93F6AA2-674B-4AEB-9561-F9887B2E9F87}" srcId="{1E0233DA-77B1-4053-B687-2077EE87201A}" destId="{E1EB50F5-D4D8-49F1-A5DA-365D74260272}" srcOrd="0" destOrd="0" parTransId="{76ED1523-B892-4A76-A8A4-243A28BCC6B7}" sibTransId="{A70BBF3B-6573-4781-A5CF-1A642EF721B2}"/>
    <dgm:cxn modelId="{07E44D45-9DD8-4233-ADAF-0B1C8C87848E}" type="presOf" srcId="{919969CA-BFE0-4CF2-B4AD-49DAD3A11D4D}" destId="{E25F2832-B6AA-4C86-9E69-DF31B1DF6740}" srcOrd="1" destOrd="1" presId="urn:microsoft.com/office/officeart/2005/8/layout/cycle4"/>
    <dgm:cxn modelId="{F2DFF4CF-27EB-40EA-85F8-218585E6AA99}" srcId="{BBA6EAA3-62FE-49C6-A4BF-426E0358A7E1}" destId="{0C98C940-8A0D-4337-96F6-D3B3777156B6}" srcOrd="2" destOrd="0" parTransId="{3C83A722-8BAE-481B-BC33-3C6DD0E76B90}" sibTransId="{EE9B6DBD-1583-4F73-B20D-6A58F5060884}"/>
    <dgm:cxn modelId="{42B663E9-7CC3-415A-8A2A-6A0856407EC7}" type="presOf" srcId="{E54F7009-2341-40A4-957A-B63F84A74261}" destId="{C7457D68-2598-40D9-AFC5-DAA26A1C9BC9}" srcOrd="0" destOrd="0" presId="urn:microsoft.com/office/officeart/2005/8/layout/cycle4"/>
    <dgm:cxn modelId="{E6A8437B-F4AB-4C12-B0A1-8655A57C75B7}" type="presOf" srcId="{6B7890DD-DD47-48DE-B30B-5067B50B7DA6}" destId="{0E25884C-E415-41EB-9FE7-8161A789134F}" srcOrd="0" destOrd="3" presId="urn:microsoft.com/office/officeart/2005/8/layout/cycle4"/>
    <dgm:cxn modelId="{6FDCE65C-F47A-41DB-8AB7-BAE35FDBB297}" srcId="{BA08D5B9-41B9-4483-A8E9-E3D7364095F0}" destId="{35A6A338-1CF4-47C8-B226-E5B64AA707C9}" srcOrd="2" destOrd="0" parTransId="{02A864D7-3457-4231-A356-F4ABBF8CBE9E}" sibTransId="{B35A2A7A-C472-4DDC-ABA6-163ED7025D6B}"/>
    <dgm:cxn modelId="{87E805A0-AE95-457E-8037-794CF249AB71}" srcId="{638552D0-D644-43EC-84AB-809D2FDFFF03}" destId="{AB13B01D-7270-4F0D-B14C-2D247C3589F1}" srcOrd="2" destOrd="0" parTransId="{0BF19B87-EBB9-4825-A56D-06B287050422}" sibTransId="{A9181A94-B12C-458A-A08C-FB138034682C}"/>
    <dgm:cxn modelId="{B54408E4-DABB-4A8B-8F38-6F651664407F}" type="presOf" srcId="{919969CA-BFE0-4CF2-B4AD-49DAD3A11D4D}" destId="{0E25884C-E415-41EB-9FE7-8161A789134F}" srcOrd="0" destOrd="1" presId="urn:microsoft.com/office/officeart/2005/8/layout/cycle4"/>
    <dgm:cxn modelId="{73C8DAB7-8B2A-406F-8AE4-B7C6D35B9B7D}" type="presOf" srcId="{0E979611-16AF-4548-84A9-906687BD52BD}" destId="{45C49664-664C-4A4F-A377-EC9A50413B59}" srcOrd="1" destOrd="1" presId="urn:microsoft.com/office/officeart/2005/8/layout/cycle4"/>
    <dgm:cxn modelId="{124863A6-8B81-4D9C-97DE-EA75A01F8416}" srcId="{BBA6EAA3-62FE-49C6-A4BF-426E0358A7E1}" destId="{0E979611-16AF-4548-84A9-906687BD52BD}" srcOrd="1" destOrd="0" parTransId="{93A900F0-40EA-4A4C-906E-E5FBC5800B7C}" sibTransId="{3EC22307-0DAF-44C6-923A-9C0B5B6C3822}"/>
    <dgm:cxn modelId="{DD88019D-693C-4EC5-A943-9C882AABCB11}" type="presOf" srcId="{F1817765-17F1-498D-A20C-718A518D31F6}" destId="{C7457D68-2598-40D9-AFC5-DAA26A1C9BC9}" srcOrd="0" destOrd="1" presId="urn:microsoft.com/office/officeart/2005/8/layout/cycle4"/>
    <dgm:cxn modelId="{BD174DB8-6684-4A1E-849D-C4E9D5DC1924}" srcId="{BBA6EAA3-62FE-49C6-A4BF-426E0358A7E1}" destId="{D396E11B-361D-4BEA-A4C7-A8AF053980C0}" srcOrd="0" destOrd="0" parTransId="{21845DB7-C8DA-4F29-BBA6-442A9866E089}" sibTransId="{54CE01E5-9704-4319-9F72-CA016A9686CB}"/>
    <dgm:cxn modelId="{9D1A8248-3565-4201-8CED-9B1332E4BE39}" type="presOf" srcId="{362577FD-4AF4-4785-80CB-44EE5C951371}" destId="{20199CF4-F111-4C14-AF48-612DBA23F402}" srcOrd="0" destOrd="0" presId="urn:microsoft.com/office/officeart/2005/8/layout/cycle4"/>
    <dgm:cxn modelId="{3E94C28E-C1A2-4C5A-A1B5-43B081B2F523}" srcId="{1E0233DA-77B1-4053-B687-2077EE87201A}" destId="{6B7890DD-DD47-48DE-B30B-5067B50B7DA6}" srcOrd="3" destOrd="0" parTransId="{E0ABD339-BC1A-4095-B040-40C7A010ACF8}" sibTransId="{2FCB1B99-8804-4D80-92C7-3FB43678A75C}"/>
    <dgm:cxn modelId="{74C18228-4E6F-4196-988A-D99EAFFEF126}" srcId="{638552D0-D644-43EC-84AB-809D2FDFFF03}" destId="{362577FD-4AF4-4785-80CB-44EE5C951371}" srcOrd="0" destOrd="0" parTransId="{6141D475-2E4B-4767-9103-DFD1AA6DACD8}" sibTransId="{CB900EC2-0BFC-4B94-BF95-0E2891866240}"/>
    <dgm:cxn modelId="{9A8DCFC3-D4A6-4300-9AAB-F8C49835CA10}" type="presOf" srcId="{362577FD-4AF4-4785-80CB-44EE5C951371}" destId="{AB9BC375-B7FB-40D4-B522-B36D68C42B99}" srcOrd="1" destOrd="0" presId="urn:microsoft.com/office/officeart/2005/8/layout/cycle4"/>
    <dgm:cxn modelId="{1354A53B-E0D5-4811-973E-FA95C0B1FE69}" type="presOf" srcId="{AB13B01D-7270-4F0D-B14C-2D247C3589F1}" destId="{20199CF4-F111-4C14-AF48-612DBA23F402}" srcOrd="0" destOrd="2" presId="urn:microsoft.com/office/officeart/2005/8/layout/cycle4"/>
    <dgm:cxn modelId="{98A2B68C-1D7F-43EF-9F7E-58E23683EFC7}" type="presOf" srcId="{E1EB50F5-D4D8-49F1-A5DA-365D74260272}" destId="{0E25884C-E415-41EB-9FE7-8161A789134F}" srcOrd="0" destOrd="0" presId="urn:microsoft.com/office/officeart/2005/8/layout/cycle4"/>
    <dgm:cxn modelId="{F134E6FA-8AAF-41AC-8535-D31B8DC07456}" type="presOf" srcId="{AAF17680-8860-44AC-BCC7-E2CCE720BA6F}" destId="{20199CF4-F111-4C14-AF48-612DBA23F402}" srcOrd="0" destOrd="1" presId="urn:microsoft.com/office/officeart/2005/8/layout/cycle4"/>
    <dgm:cxn modelId="{DB3C5FFF-3B40-4815-9440-A3688DCD067C}" type="presParOf" srcId="{4CAB4370-B882-49D0-A465-F6365CBD93F1}" destId="{82A0E336-B874-4403-B0B2-981A3DAA7F03}" srcOrd="0" destOrd="0" presId="urn:microsoft.com/office/officeart/2005/8/layout/cycle4"/>
    <dgm:cxn modelId="{E0F5DB6B-2953-47E8-A976-3D34F289C3FB}" type="presParOf" srcId="{82A0E336-B874-4403-B0B2-981A3DAA7F03}" destId="{2C89BA69-B433-46C0-8523-0CA26EC6BD3C}" srcOrd="0" destOrd="0" presId="urn:microsoft.com/office/officeart/2005/8/layout/cycle4"/>
    <dgm:cxn modelId="{7FC77C9B-D966-486D-9219-464BFBE0029B}" type="presParOf" srcId="{2C89BA69-B433-46C0-8523-0CA26EC6BD3C}" destId="{0E25884C-E415-41EB-9FE7-8161A789134F}" srcOrd="0" destOrd="0" presId="urn:microsoft.com/office/officeart/2005/8/layout/cycle4"/>
    <dgm:cxn modelId="{210D5A88-A069-4049-8005-49A5EFB4ED51}" type="presParOf" srcId="{2C89BA69-B433-46C0-8523-0CA26EC6BD3C}" destId="{E25F2832-B6AA-4C86-9E69-DF31B1DF6740}" srcOrd="1" destOrd="0" presId="urn:microsoft.com/office/officeart/2005/8/layout/cycle4"/>
    <dgm:cxn modelId="{0C13E2DD-3390-4965-8344-B06FB1B99740}" type="presParOf" srcId="{82A0E336-B874-4403-B0B2-981A3DAA7F03}" destId="{D3EC71D8-F264-4736-96A5-DBF05DB5F748}" srcOrd="1" destOrd="0" presId="urn:microsoft.com/office/officeart/2005/8/layout/cycle4"/>
    <dgm:cxn modelId="{CF0B2091-87ED-42E2-A96F-701E7D1A5196}" type="presParOf" srcId="{D3EC71D8-F264-4736-96A5-DBF05DB5F748}" destId="{20199CF4-F111-4C14-AF48-612DBA23F402}" srcOrd="0" destOrd="0" presId="urn:microsoft.com/office/officeart/2005/8/layout/cycle4"/>
    <dgm:cxn modelId="{53B92686-A00B-4071-958D-E09CAFDC3519}" type="presParOf" srcId="{D3EC71D8-F264-4736-96A5-DBF05DB5F748}" destId="{AB9BC375-B7FB-40D4-B522-B36D68C42B99}" srcOrd="1" destOrd="0" presId="urn:microsoft.com/office/officeart/2005/8/layout/cycle4"/>
    <dgm:cxn modelId="{FC85C2A8-9FC4-42EA-B197-00BE187898F1}" type="presParOf" srcId="{82A0E336-B874-4403-B0B2-981A3DAA7F03}" destId="{36FAA951-EB86-45BE-A4D7-A2E65BCB9628}" srcOrd="2" destOrd="0" presId="urn:microsoft.com/office/officeart/2005/8/layout/cycle4"/>
    <dgm:cxn modelId="{60FD8B83-94F8-4A2A-B32F-B1CB89DA8B9E}" type="presParOf" srcId="{36FAA951-EB86-45BE-A4D7-A2E65BCB9628}" destId="{C7457D68-2598-40D9-AFC5-DAA26A1C9BC9}" srcOrd="0" destOrd="0" presId="urn:microsoft.com/office/officeart/2005/8/layout/cycle4"/>
    <dgm:cxn modelId="{F61627B9-A772-4FD4-9FA6-E2AEFDF93307}" type="presParOf" srcId="{36FAA951-EB86-45BE-A4D7-A2E65BCB9628}" destId="{A05E8F1E-EB61-4C0F-9BF3-D9F5321B3BC9}" srcOrd="1" destOrd="0" presId="urn:microsoft.com/office/officeart/2005/8/layout/cycle4"/>
    <dgm:cxn modelId="{C2976E1A-95A9-4C14-A7C4-B53B6F489A14}" type="presParOf" srcId="{82A0E336-B874-4403-B0B2-981A3DAA7F03}" destId="{F31F2C23-7A35-4667-AF8F-BE203EEDF03F}" srcOrd="3" destOrd="0" presId="urn:microsoft.com/office/officeart/2005/8/layout/cycle4"/>
    <dgm:cxn modelId="{9E4A9085-0DB1-4F0E-83F8-814B15ED7372}" type="presParOf" srcId="{F31F2C23-7A35-4667-AF8F-BE203EEDF03F}" destId="{39F84A70-90C4-4C48-889A-EF56A0E63256}" srcOrd="0" destOrd="0" presId="urn:microsoft.com/office/officeart/2005/8/layout/cycle4"/>
    <dgm:cxn modelId="{F27A5D02-4B76-40C3-AD69-9FC496C3261D}" type="presParOf" srcId="{F31F2C23-7A35-4667-AF8F-BE203EEDF03F}" destId="{45C49664-664C-4A4F-A377-EC9A50413B59}" srcOrd="1" destOrd="0" presId="urn:microsoft.com/office/officeart/2005/8/layout/cycle4"/>
    <dgm:cxn modelId="{740B8375-26E7-48F7-B8DE-1628015C051E}" type="presParOf" srcId="{82A0E336-B874-4403-B0B2-981A3DAA7F03}" destId="{8AAC898D-88CC-4A12-A48D-9F7125DE1DD0}" srcOrd="4" destOrd="0" presId="urn:microsoft.com/office/officeart/2005/8/layout/cycle4"/>
    <dgm:cxn modelId="{8BEC61DB-8268-49CE-A916-04C393BEAF66}" type="presParOf" srcId="{4CAB4370-B882-49D0-A465-F6365CBD93F1}" destId="{59520AAC-19AA-4333-A852-92F8688635C9}" srcOrd="1" destOrd="0" presId="urn:microsoft.com/office/officeart/2005/8/layout/cycle4"/>
    <dgm:cxn modelId="{0CD632BD-76F8-41DC-B889-46BB32B86C3C}" type="presParOf" srcId="{59520AAC-19AA-4333-A852-92F8688635C9}" destId="{10D7315C-3C5D-4709-83E6-90BEC6C5DDF6}" srcOrd="0" destOrd="0" presId="urn:microsoft.com/office/officeart/2005/8/layout/cycle4"/>
    <dgm:cxn modelId="{D37939E5-CE92-49D1-A0D5-89D06CF8C1D2}" type="presParOf" srcId="{59520AAC-19AA-4333-A852-92F8688635C9}" destId="{D4C8D83D-8BBB-4E7C-AB76-630DCEE937E9}" srcOrd="1" destOrd="0" presId="urn:microsoft.com/office/officeart/2005/8/layout/cycle4"/>
    <dgm:cxn modelId="{52F6BAD4-379E-4E01-8FE7-1D2BD0A4EA88}" type="presParOf" srcId="{59520AAC-19AA-4333-A852-92F8688635C9}" destId="{CF79EBF9-83C1-471E-8AC8-6B4B2809794F}" srcOrd="2" destOrd="0" presId="urn:microsoft.com/office/officeart/2005/8/layout/cycle4"/>
    <dgm:cxn modelId="{CAC0CFBE-819F-461C-BCD4-957D6F9CA6BD}" type="presParOf" srcId="{59520AAC-19AA-4333-A852-92F8688635C9}" destId="{265B05CA-5EAC-41F1-8251-45DC8C7A0C88}" srcOrd="3" destOrd="0" presId="urn:microsoft.com/office/officeart/2005/8/layout/cycle4"/>
    <dgm:cxn modelId="{4A58079B-193C-4319-A32C-FE25C1E3B515}" type="presParOf" srcId="{59520AAC-19AA-4333-A852-92F8688635C9}" destId="{49BD015D-85A9-4382-A074-948271D63C07}" srcOrd="4" destOrd="0" presId="urn:microsoft.com/office/officeart/2005/8/layout/cycle4"/>
    <dgm:cxn modelId="{370D6862-F687-4999-A5A6-095778C8F1F0}" type="presParOf" srcId="{4CAB4370-B882-49D0-A465-F6365CBD93F1}" destId="{95A06C81-14A7-4847-983C-97E1134E3180}" srcOrd="2" destOrd="0" presId="urn:microsoft.com/office/officeart/2005/8/layout/cycle4"/>
    <dgm:cxn modelId="{87B5447F-6286-48F9-B31F-F62F92951FB5}" type="presParOf" srcId="{4CAB4370-B882-49D0-A465-F6365CBD93F1}" destId="{1D22C0F5-203A-4BBA-BD40-BAAA5E437F41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D8D6B72-5EBA-4328-847F-F79AC230BFDE}" type="doc">
      <dgm:prSet loTypeId="urn:microsoft.com/office/officeart/2005/8/layout/process1" loCatId="process" qsTypeId="urn:microsoft.com/office/officeart/2005/8/quickstyle/3d4" qsCatId="3D" csTypeId="urn:microsoft.com/office/officeart/2005/8/colors/accent1_2" csCatId="accent1" phldr="1"/>
      <dgm:spPr/>
    </dgm:pt>
    <dgm:pt modelId="{43BE1501-C983-4000-8AD5-A03464823518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algn="ctr"/>
          <a:r>
            <a:rPr lang="ru-RU" sz="1500" dirty="0" smtClean="0">
              <a:solidFill>
                <a:schemeClr val="tx1"/>
              </a:solidFill>
            </a:rPr>
            <a:t>Выбрать схему работы: </a:t>
          </a:r>
        </a:p>
        <a:p>
          <a:pPr algn="l"/>
          <a:r>
            <a:rPr lang="ru-RU" sz="1500" dirty="0" smtClean="0">
              <a:solidFill>
                <a:schemeClr val="tx1"/>
              </a:solidFill>
            </a:rPr>
            <a:t>- портал </a:t>
          </a:r>
          <a:r>
            <a:rPr lang="en-US" sz="1500" b="1" dirty="0" smtClean="0">
              <a:solidFill>
                <a:schemeClr val="tx1"/>
              </a:solidFill>
            </a:rPr>
            <a:t>SAP SRM-SUS</a:t>
          </a:r>
          <a:r>
            <a:rPr lang="en-US" sz="1500" dirty="0" smtClean="0">
              <a:solidFill>
                <a:schemeClr val="tx1"/>
              </a:solidFill>
            </a:rPr>
            <a:t> </a:t>
          </a:r>
          <a:r>
            <a:rPr lang="ru-RU" sz="1500" dirty="0" smtClean="0">
              <a:solidFill>
                <a:schemeClr val="tx1"/>
              </a:solidFill>
            </a:rPr>
            <a:t>или </a:t>
          </a:r>
        </a:p>
        <a:p>
          <a:pPr algn="l"/>
          <a:r>
            <a:rPr lang="ru-RU" sz="1500" dirty="0" smtClean="0">
              <a:solidFill>
                <a:schemeClr val="tx1"/>
              </a:solidFill>
            </a:rPr>
            <a:t>  - интеграция с </a:t>
          </a:r>
          <a:r>
            <a:rPr lang="en-US" sz="1500" b="1" dirty="0" smtClean="0">
              <a:solidFill>
                <a:schemeClr val="tx1"/>
              </a:solidFill>
            </a:rPr>
            <a:t>EDI-</a:t>
          </a:r>
          <a:r>
            <a:rPr lang="ru-RU" sz="1500" b="1" dirty="0" smtClean="0">
              <a:solidFill>
                <a:schemeClr val="tx1"/>
              </a:solidFill>
            </a:rPr>
            <a:t>провайдером</a:t>
          </a:r>
          <a:endParaRPr lang="ru-RU" sz="1500" b="1" dirty="0">
            <a:solidFill>
              <a:schemeClr val="tx1"/>
            </a:solidFill>
          </a:endParaRPr>
        </a:p>
      </dgm:t>
    </dgm:pt>
    <dgm:pt modelId="{C626233F-C9AC-47CB-8515-A55AD897753A}" type="parTrans" cxnId="{2F0941BE-E626-4E4D-92AF-14A95D23A65F}">
      <dgm:prSet/>
      <dgm:spPr/>
      <dgm:t>
        <a:bodyPr/>
        <a:lstStyle/>
        <a:p>
          <a:endParaRPr lang="ru-RU" sz="1200"/>
        </a:p>
      </dgm:t>
    </dgm:pt>
    <dgm:pt modelId="{210D38C3-4E23-4122-B1BA-8FCC890C0EB1}" type="sibTrans" cxnId="{2F0941BE-E626-4E4D-92AF-14A95D23A65F}">
      <dgm:prSet custT="1"/>
      <dgm:spPr>
        <a:solidFill>
          <a:srgbClr val="4A7EBB"/>
        </a:solidFill>
      </dgm:spPr>
      <dgm:t>
        <a:bodyPr/>
        <a:lstStyle/>
        <a:p>
          <a:endParaRPr lang="ru-RU" sz="1200"/>
        </a:p>
      </dgm:t>
    </dgm:pt>
    <dgm:pt modelId="{00B01B8E-2116-4348-9A05-9D7DDD7F542F}">
      <dgm:prSet phldrT="[Текст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sz="15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Получить от НЛМК параметры </a:t>
          </a:r>
          <a:r>
            <a:rPr lang="ru-RU" sz="1500" b="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доступа</a:t>
          </a:r>
          <a:r>
            <a:rPr lang="ru-RU" sz="1500" b="1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 </a:t>
          </a:r>
          <a:r>
            <a:rPr lang="ru-RU" sz="15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к </a:t>
          </a:r>
          <a:r>
            <a:rPr lang="en-US" sz="1500" b="1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SAP SRM-SUS </a:t>
          </a:r>
          <a:endParaRPr lang="ru-RU" sz="1500" b="1" dirty="0" smtClean="0">
            <a:solidFill>
              <a:schemeClr val="tx1">
                <a:lumMod val="85000"/>
                <a:lumOff val="15000"/>
              </a:schemeClr>
            </a:solidFill>
            <a:cs typeface="Times New Roman" pitchFamily="18" charset="0"/>
          </a:endParaRPr>
        </a:p>
        <a:p>
          <a:r>
            <a:rPr lang="ru-RU" sz="15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или организовать взаимодействие через </a:t>
          </a:r>
          <a:r>
            <a:rPr lang="en-US" sz="1500" b="1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EDI-</a:t>
          </a:r>
          <a:r>
            <a:rPr lang="ru-RU" sz="1500" b="1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провайдера </a:t>
          </a:r>
          <a:endParaRPr lang="ru-RU" sz="1500" b="1" dirty="0"/>
        </a:p>
      </dgm:t>
    </dgm:pt>
    <dgm:pt modelId="{AFD6308A-CFCE-4B6E-ABF2-38506C15C9DF}" type="parTrans" cxnId="{AF935930-17BB-4EED-B869-E9D07558A6B6}">
      <dgm:prSet/>
      <dgm:spPr/>
      <dgm:t>
        <a:bodyPr/>
        <a:lstStyle/>
        <a:p>
          <a:endParaRPr lang="ru-RU" sz="1200"/>
        </a:p>
      </dgm:t>
    </dgm:pt>
    <dgm:pt modelId="{2D416FAC-CF59-4F66-B63D-E139A7B89C0B}" type="sibTrans" cxnId="{AF935930-17BB-4EED-B869-E9D07558A6B6}">
      <dgm:prSet custT="1"/>
      <dgm:spPr>
        <a:solidFill>
          <a:srgbClr val="4A7EBB"/>
        </a:solidFill>
      </dgm:spPr>
      <dgm:t>
        <a:bodyPr/>
        <a:lstStyle/>
        <a:p>
          <a:endParaRPr lang="ru-RU" sz="1200"/>
        </a:p>
      </dgm:t>
    </dgm:pt>
    <dgm:pt modelId="{26D8775B-FCB0-4C30-94C8-D1B397525292}">
      <dgm:prSet phldrT="[Текст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pPr algn="ctr"/>
          <a:r>
            <a:rPr lang="ru-RU" sz="1500" dirty="0" smtClean="0">
              <a:solidFill>
                <a:schemeClr val="tx1"/>
              </a:solidFill>
              <a:cs typeface="Times New Roman" pitchFamily="18" charset="0"/>
            </a:rPr>
            <a:t>Заключить с предприятием Группы НЛМК Соглашение об ЭОД</a:t>
          </a:r>
          <a:endParaRPr lang="ru-RU" sz="1500" dirty="0">
            <a:solidFill>
              <a:schemeClr val="tx1"/>
            </a:solidFill>
          </a:endParaRPr>
        </a:p>
      </dgm:t>
    </dgm:pt>
    <dgm:pt modelId="{1EBD56DB-9EF6-4B44-80CF-F374E7E0D9D9}" type="parTrans" cxnId="{BA29A098-0760-4A0F-8D40-82E86DCD893A}">
      <dgm:prSet/>
      <dgm:spPr/>
      <dgm:t>
        <a:bodyPr/>
        <a:lstStyle/>
        <a:p>
          <a:endParaRPr lang="ru-RU" sz="1200"/>
        </a:p>
      </dgm:t>
    </dgm:pt>
    <dgm:pt modelId="{65B5D1EF-A689-42C5-BAF3-26A0CCE53837}" type="sibTrans" cxnId="{BA29A098-0760-4A0F-8D40-82E86DCD893A}">
      <dgm:prSet custT="1"/>
      <dgm:spPr>
        <a:solidFill>
          <a:srgbClr val="4A7EBB"/>
        </a:solidFill>
      </dgm:spPr>
      <dgm:t>
        <a:bodyPr/>
        <a:lstStyle/>
        <a:p>
          <a:endParaRPr lang="ru-RU" sz="1200"/>
        </a:p>
      </dgm:t>
    </dgm:pt>
    <dgm:pt modelId="{E7DDCAB3-699E-4F37-B2EF-9546B4B154FE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sz="1500" dirty="0" smtClean="0">
              <a:solidFill>
                <a:schemeClr val="tx1"/>
              </a:solidFill>
              <a:cs typeface="Times New Roman" pitchFamily="18" charset="0"/>
            </a:rPr>
            <a:t>Провести тестовые обмены электронными документами с НЛМК</a:t>
          </a:r>
          <a:endParaRPr lang="ru-RU" sz="1500" dirty="0">
            <a:solidFill>
              <a:schemeClr val="tx1"/>
            </a:solidFill>
          </a:endParaRPr>
        </a:p>
      </dgm:t>
    </dgm:pt>
    <dgm:pt modelId="{9DA69A72-8B0B-46C4-A29F-896DAB3AD58D}" type="parTrans" cxnId="{C17BFD1C-0DB6-4284-A485-6B827EAB2208}">
      <dgm:prSet/>
      <dgm:spPr/>
      <dgm:t>
        <a:bodyPr/>
        <a:lstStyle/>
        <a:p>
          <a:endParaRPr lang="ru-RU" sz="1200"/>
        </a:p>
      </dgm:t>
    </dgm:pt>
    <dgm:pt modelId="{A6CF628B-1592-48A3-A967-0E4838615E3C}" type="sibTrans" cxnId="{C17BFD1C-0DB6-4284-A485-6B827EAB2208}">
      <dgm:prSet custT="1"/>
      <dgm:spPr/>
      <dgm:t>
        <a:bodyPr/>
        <a:lstStyle/>
        <a:p>
          <a:endParaRPr lang="ru-RU" sz="1200"/>
        </a:p>
      </dgm:t>
    </dgm:pt>
    <dgm:pt modelId="{351A8CF2-EA10-410E-9352-A2425A953B18}" type="pres">
      <dgm:prSet presAssocID="{6D8D6B72-5EBA-4328-847F-F79AC230BFDE}" presName="Name0" presStyleCnt="0">
        <dgm:presLayoutVars>
          <dgm:dir/>
          <dgm:resizeHandles val="exact"/>
        </dgm:presLayoutVars>
      </dgm:prSet>
      <dgm:spPr/>
    </dgm:pt>
    <dgm:pt modelId="{630DB9A4-7BCA-40D4-B127-72DDB3AE473D}" type="pres">
      <dgm:prSet presAssocID="{43BE1501-C983-4000-8AD5-A03464823518}" presName="node" presStyleLbl="node1" presStyleIdx="0" presStyleCnt="4" custScaleX="2112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99FACA-6296-4378-8D94-365F56544923}" type="pres">
      <dgm:prSet presAssocID="{210D38C3-4E23-4122-B1BA-8FCC890C0EB1}" presName="sibTrans" presStyleLbl="sibTrans2D1" presStyleIdx="0" presStyleCnt="3"/>
      <dgm:spPr/>
      <dgm:t>
        <a:bodyPr/>
        <a:lstStyle/>
        <a:p>
          <a:endParaRPr lang="ru-RU"/>
        </a:p>
      </dgm:t>
    </dgm:pt>
    <dgm:pt modelId="{42EBA911-9F3B-4217-B998-852FDABED1F2}" type="pres">
      <dgm:prSet presAssocID="{210D38C3-4E23-4122-B1BA-8FCC890C0EB1}" presName="connectorText" presStyleLbl="sibTrans2D1" presStyleIdx="0" presStyleCnt="3"/>
      <dgm:spPr/>
      <dgm:t>
        <a:bodyPr/>
        <a:lstStyle/>
        <a:p>
          <a:endParaRPr lang="ru-RU"/>
        </a:p>
      </dgm:t>
    </dgm:pt>
    <dgm:pt modelId="{98E51AF4-B4DB-49DF-8EF4-25383DC3035D}" type="pres">
      <dgm:prSet presAssocID="{26D8775B-FCB0-4C30-94C8-D1B397525292}" presName="node" presStyleLbl="node1" presStyleIdx="1" presStyleCnt="4" custScaleX="2112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B3A5A2-A32A-4B5F-9629-F26B18FC88A4}" type="pres">
      <dgm:prSet presAssocID="{65B5D1EF-A689-42C5-BAF3-26A0CCE53837}" presName="sibTrans" presStyleLbl="sibTrans2D1" presStyleIdx="1" presStyleCnt="3"/>
      <dgm:spPr/>
      <dgm:t>
        <a:bodyPr/>
        <a:lstStyle/>
        <a:p>
          <a:endParaRPr lang="ru-RU"/>
        </a:p>
      </dgm:t>
    </dgm:pt>
    <dgm:pt modelId="{77F090CE-C2EC-4D81-B79D-507623BD9F0C}" type="pres">
      <dgm:prSet presAssocID="{65B5D1EF-A689-42C5-BAF3-26A0CCE53837}" presName="connectorText" presStyleLbl="sibTrans2D1" presStyleIdx="1" presStyleCnt="3"/>
      <dgm:spPr/>
      <dgm:t>
        <a:bodyPr/>
        <a:lstStyle/>
        <a:p>
          <a:endParaRPr lang="ru-RU"/>
        </a:p>
      </dgm:t>
    </dgm:pt>
    <dgm:pt modelId="{8CE78DA4-E5DD-427A-89D0-FF094ADBED17}" type="pres">
      <dgm:prSet presAssocID="{00B01B8E-2116-4348-9A05-9D7DDD7F542F}" presName="node" presStyleLbl="node1" presStyleIdx="2" presStyleCnt="4" custScaleX="211210" custLinFactNeighborY="-5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D40A8C-FAAA-47E6-869F-696ED2A7960C}" type="pres">
      <dgm:prSet presAssocID="{2D416FAC-CF59-4F66-B63D-E139A7B89C0B}" presName="sibTrans" presStyleLbl="sibTrans2D1" presStyleIdx="2" presStyleCnt="3"/>
      <dgm:spPr/>
      <dgm:t>
        <a:bodyPr/>
        <a:lstStyle/>
        <a:p>
          <a:endParaRPr lang="ru-RU"/>
        </a:p>
      </dgm:t>
    </dgm:pt>
    <dgm:pt modelId="{56743E54-0038-4B9E-8042-A98287AC5B5E}" type="pres">
      <dgm:prSet presAssocID="{2D416FAC-CF59-4F66-B63D-E139A7B89C0B}" presName="connectorText" presStyleLbl="sibTrans2D1" presStyleIdx="2" presStyleCnt="3"/>
      <dgm:spPr/>
      <dgm:t>
        <a:bodyPr/>
        <a:lstStyle/>
        <a:p>
          <a:endParaRPr lang="ru-RU"/>
        </a:p>
      </dgm:t>
    </dgm:pt>
    <dgm:pt modelId="{C77BAC38-9D9A-422B-B9D0-946E09593E15}" type="pres">
      <dgm:prSet presAssocID="{E7DDCAB3-699E-4F37-B2EF-9546B4B154FE}" presName="node" presStyleLbl="node1" presStyleIdx="3" presStyleCnt="4" custScaleX="2112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28D17DB-449E-4929-AD3D-DD0AB69E8FA7}" type="presOf" srcId="{6D8D6B72-5EBA-4328-847F-F79AC230BFDE}" destId="{351A8CF2-EA10-410E-9352-A2425A953B18}" srcOrd="0" destOrd="0" presId="urn:microsoft.com/office/officeart/2005/8/layout/process1"/>
    <dgm:cxn modelId="{AF935930-17BB-4EED-B869-E9D07558A6B6}" srcId="{6D8D6B72-5EBA-4328-847F-F79AC230BFDE}" destId="{00B01B8E-2116-4348-9A05-9D7DDD7F542F}" srcOrd="2" destOrd="0" parTransId="{AFD6308A-CFCE-4B6E-ABF2-38506C15C9DF}" sibTransId="{2D416FAC-CF59-4F66-B63D-E139A7B89C0B}"/>
    <dgm:cxn modelId="{763B4FE3-2B2D-4119-8D99-D3ECF850C091}" type="presOf" srcId="{65B5D1EF-A689-42C5-BAF3-26A0CCE53837}" destId="{77F090CE-C2EC-4D81-B79D-507623BD9F0C}" srcOrd="1" destOrd="0" presId="urn:microsoft.com/office/officeart/2005/8/layout/process1"/>
    <dgm:cxn modelId="{BA29A098-0760-4A0F-8D40-82E86DCD893A}" srcId="{6D8D6B72-5EBA-4328-847F-F79AC230BFDE}" destId="{26D8775B-FCB0-4C30-94C8-D1B397525292}" srcOrd="1" destOrd="0" parTransId="{1EBD56DB-9EF6-4B44-80CF-F374E7E0D9D9}" sibTransId="{65B5D1EF-A689-42C5-BAF3-26A0CCE53837}"/>
    <dgm:cxn modelId="{97A99BFF-1BCC-42E0-9E4F-0E47EC2F7660}" type="presOf" srcId="{2D416FAC-CF59-4F66-B63D-E139A7B89C0B}" destId="{56743E54-0038-4B9E-8042-A98287AC5B5E}" srcOrd="1" destOrd="0" presId="urn:microsoft.com/office/officeart/2005/8/layout/process1"/>
    <dgm:cxn modelId="{8AC84115-68D3-4599-AA8B-9A117734754C}" type="presOf" srcId="{210D38C3-4E23-4122-B1BA-8FCC890C0EB1}" destId="{42EBA911-9F3B-4217-B998-852FDABED1F2}" srcOrd="1" destOrd="0" presId="urn:microsoft.com/office/officeart/2005/8/layout/process1"/>
    <dgm:cxn modelId="{C17BFD1C-0DB6-4284-A485-6B827EAB2208}" srcId="{6D8D6B72-5EBA-4328-847F-F79AC230BFDE}" destId="{E7DDCAB3-699E-4F37-B2EF-9546B4B154FE}" srcOrd="3" destOrd="0" parTransId="{9DA69A72-8B0B-46C4-A29F-896DAB3AD58D}" sibTransId="{A6CF628B-1592-48A3-A967-0E4838615E3C}"/>
    <dgm:cxn modelId="{64D56325-1B58-4657-928D-8EAD6036BC66}" type="presOf" srcId="{E7DDCAB3-699E-4F37-B2EF-9546B4B154FE}" destId="{C77BAC38-9D9A-422B-B9D0-946E09593E15}" srcOrd="0" destOrd="0" presId="urn:microsoft.com/office/officeart/2005/8/layout/process1"/>
    <dgm:cxn modelId="{2F0941BE-E626-4E4D-92AF-14A95D23A65F}" srcId="{6D8D6B72-5EBA-4328-847F-F79AC230BFDE}" destId="{43BE1501-C983-4000-8AD5-A03464823518}" srcOrd="0" destOrd="0" parTransId="{C626233F-C9AC-47CB-8515-A55AD897753A}" sibTransId="{210D38C3-4E23-4122-B1BA-8FCC890C0EB1}"/>
    <dgm:cxn modelId="{25546A6F-AAD7-4422-851E-D9BFE36553F4}" type="presOf" srcId="{65B5D1EF-A689-42C5-BAF3-26A0CCE53837}" destId="{B5B3A5A2-A32A-4B5F-9629-F26B18FC88A4}" srcOrd="0" destOrd="0" presId="urn:microsoft.com/office/officeart/2005/8/layout/process1"/>
    <dgm:cxn modelId="{D061CB20-A559-4C0C-851A-65799FDE46CB}" type="presOf" srcId="{210D38C3-4E23-4122-B1BA-8FCC890C0EB1}" destId="{2999FACA-6296-4378-8D94-365F56544923}" srcOrd="0" destOrd="0" presId="urn:microsoft.com/office/officeart/2005/8/layout/process1"/>
    <dgm:cxn modelId="{14FC7569-7D5D-4F04-8522-1E743855A5E8}" type="presOf" srcId="{00B01B8E-2116-4348-9A05-9D7DDD7F542F}" destId="{8CE78DA4-E5DD-427A-89D0-FF094ADBED17}" srcOrd="0" destOrd="0" presId="urn:microsoft.com/office/officeart/2005/8/layout/process1"/>
    <dgm:cxn modelId="{262C8700-F106-42B2-B953-489D12D4A6FB}" type="presOf" srcId="{2D416FAC-CF59-4F66-B63D-E139A7B89C0B}" destId="{D6D40A8C-FAAA-47E6-869F-696ED2A7960C}" srcOrd="0" destOrd="0" presId="urn:microsoft.com/office/officeart/2005/8/layout/process1"/>
    <dgm:cxn modelId="{7E391FBE-7769-4645-A55B-557B1C6687F9}" type="presOf" srcId="{43BE1501-C983-4000-8AD5-A03464823518}" destId="{630DB9A4-7BCA-40D4-B127-72DDB3AE473D}" srcOrd="0" destOrd="0" presId="urn:microsoft.com/office/officeart/2005/8/layout/process1"/>
    <dgm:cxn modelId="{B37EC951-4ECF-485D-933D-D4AFCD5DCDDD}" type="presOf" srcId="{26D8775B-FCB0-4C30-94C8-D1B397525292}" destId="{98E51AF4-B4DB-49DF-8EF4-25383DC3035D}" srcOrd="0" destOrd="0" presId="urn:microsoft.com/office/officeart/2005/8/layout/process1"/>
    <dgm:cxn modelId="{5A154FFE-BAB7-437C-88F9-2E00967F46FA}" type="presParOf" srcId="{351A8CF2-EA10-410E-9352-A2425A953B18}" destId="{630DB9A4-7BCA-40D4-B127-72DDB3AE473D}" srcOrd="0" destOrd="0" presId="urn:microsoft.com/office/officeart/2005/8/layout/process1"/>
    <dgm:cxn modelId="{8BA9B27E-47E6-46FA-B00E-5AB3B99CEBBD}" type="presParOf" srcId="{351A8CF2-EA10-410E-9352-A2425A953B18}" destId="{2999FACA-6296-4378-8D94-365F56544923}" srcOrd="1" destOrd="0" presId="urn:microsoft.com/office/officeart/2005/8/layout/process1"/>
    <dgm:cxn modelId="{C800232D-6889-49B8-B0A1-F7EAA37887F7}" type="presParOf" srcId="{2999FACA-6296-4378-8D94-365F56544923}" destId="{42EBA911-9F3B-4217-B998-852FDABED1F2}" srcOrd="0" destOrd="0" presId="urn:microsoft.com/office/officeart/2005/8/layout/process1"/>
    <dgm:cxn modelId="{88F4593F-75B5-4AAD-9613-ECB4227E1814}" type="presParOf" srcId="{351A8CF2-EA10-410E-9352-A2425A953B18}" destId="{98E51AF4-B4DB-49DF-8EF4-25383DC3035D}" srcOrd="2" destOrd="0" presId="urn:microsoft.com/office/officeart/2005/8/layout/process1"/>
    <dgm:cxn modelId="{72F5E733-F963-44B0-BF85-C113A79F04CD}" type="presParOf" srcId="{351A8CF2-EA10-410E-9352-A2425A953B18}" destId="{B5B3A5A2-A32A-4B5F-9629-F26B18FC88A4}" srcOrd="3" destOrd="0" presId="urn:microsoft.com/office/officeart/2005/8/layout/process1"/>
    <dgm:cxn modelId="{C4796D6F-1F7F-4DDC-BAE1-565E4F5A735B}" type="presParOf" srcId="{B5B3A5A2-A32A-4B5F-9629-F26B18FC88A4}" destId="{77F090CE-C2EC-4D81-B79D-507623BD9F0C}" srcOrd="0" destOrd="0" presId="urn:microsoft.com/office/officeart/2005/8/layout/process1"/>
    <dgm:cxn modelId="{501523F3-AEE2-45CD-BC93-641642361DCC}" type="presParOf" srcId="{351A8CF2-EA10-410E-9352-A2425A953B18}" destId="{8CE78DA4-E5DD-427A-89D0-FF094ADBED17}" srcOrd="4" destOrd="0" presId="urn:microsoft.com/office/officeart/2005/8/layout/process1"/>
    <dgm:cxn modelId="{90D4F8DD-CE8C-4A12-BD11-ABACFF4BD62B}" type="presParOf" srcId="{351A8CF2-EA10-410E-9352-A2425A953B18}" destId="{D6D40A8C-FAAA-47E6-869F-696ED2A7960C}" srcOrd="5" destOrd="0" presId="urn:microsoft.com/office/officeart/2005/8/layout/process1"/>
    <dgm:cxn modelId="{D61BE6E3-8C12-4057-BECE-5885A9ACA28E}" type="presParOf" srcId="{D6D40A8C-FAAA-47E6-869F-696ED2A7960C}" destId="{56743E54-0038-4B9E-8042-A98287AC5B5E}" srcOrd="0" destOrd="0" presId="urn:microsoft.com/office/officeart/2005/8/layout/process1"/>
    <dgm:cxn modelId="{8AF2EC84-7690-4FEC-8125-36885AF18CB4}" type="presParOf" srcId="{351A8CF2-EA10-410E-9352-A2425A953B18}" destId="{C77BAC38-9D9A-422B-B9D0-946E09593E15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E3BE481-FC23-4D31-B8A9-F1FB30B435B7}" type="doc">
      <dgm:prSet loTypeId="urn:microsoft.com/office/officeart/2008/layout/SquareAccentList" loCatId="list" qsTypeId="urn:microsoft.com/office/officeart/2005/8/quickstyle/3d4" qsCatId="3D" csTypeId="urn:microsoft.com/office/officeart/2005/8/colors/accent1_4" csCatId="accent1" phldr="1"/>
      <dgm:spPr/>
      <dgm:t>
        <a:bodyPr/>
        <a:lstStyle/>
        <a:p>
          <a:endParaRPr lang="ru-RU"/>
        </a:p>
      </dgm:t>
    </dgm:pt>
    <dgm:pt modelId="{73D86990-69C5-40E6-B957-76A76ABF6054}">
      <dgm:prSet phldrT="[Текст]" custT="1"/>
      <dgm:spPr/>
      <dgm:t>
        <a:bodyPr/>
        <a:lstStyle/>
        <a:p>
          <a:pPr algn="ctr"/>
          <a:r>
            <a:rPr lang="ru-RU" sz="1500" dirty="0" smtClean="0">
              <a:cs typeface="Times New Roman" pitchFamily="18" charset="0"/>
            </a:rPr>
            <a:t>Для </a:t>
          </a:r>
          <a:r>
            <a:rPr lang="en-US" sz="1500" dirty="0" smtClean="0">
              <a:cs typeface="Times New Roman" pitchFamily="18" charset="0"/>
            </a:rPr>
            <a:t>EDI</a:t>
          </a:r>
          <a:r>
            <a:rPr lang="ru-RU" sz="1500" dirty="0" smtClean="0">
              <a:cs typeface="Times New Roman" pitchFamily="18" charset="0"/>
            </a:rPr>
            <a:t> дополнительно необходимо:</a:t>
          </a:r>
          <a:endParaRPr lang="ru-RU" sz="1500" dirty="0"/>
        </a:p>
      </dgm:t>
    </dgm:pt>
    <dgm:pt modelId="{0C505271-1CD1-4724-AC13-B35BCAEBBACD}" type="parTrans" cxnId="{1B086E9C-F34B-4E11-8F38-DB050BD9F833}">
      <dgm:prSet/>
      <dgm:spPr/>
      <dgm:t>
        <a:bodyPr/>
        <a:lstStyle/>
        <a:p>
          <a:endParaRPr lang="ru-RU" sz="1500"/>
        </a:p>
      </dgm:t>
    </dgm:pt>
    <dgm:pt modelId="{362C2B19-9C12-46E4-8D9C-E33778CAD067}" type="sibTrans" cxnId="{1B086E9C-F34B-4E11-8F38-DB050BD9F833}">
      <dgm:prSet/>
      <dgm:spPr/>
      <dgm:t>
        <a:bodyPr/>
        <a:lstStyle/>
        <a:p>
          <a:endParaRPr lang="ru-RU" sz="1500"/>
        </a:p>
      </dgm:t>
    </dgm:pt>
    <dgm:pt modelId="{C7D9B7F9-ABE4-4698-9B7A-247F1F257C7A}">
      <dgm:prSet phldrT="[Текст]" custT="1"/>
      <dgm:spPr/>
      <dgm:t>
        <a:bodyPr/>
        <a:lstStyle/>
        <a:p>
          <a:r>
            <a:rPr lang="ru-RU" sz="1500" dirty="0" smtClean="0">
              <a:cs typeface="Times New Roman" pitchFamily="18" charset="0"/>
            </a:rPr>
            <a:t>Заключить договор с </a:t>
          </a:r>
          <a:r>
            <a:rPr lang="en-US" sz="1500" dirty="0" smtClean="0">
              <a:cs typeface="Times New Roman" pitchFamily="18" charset="0"/>
            </a:rPr>
            <a:t>EDI-</a:t>
          </a:r>
          <a:r>
            <a:rPr lang="ru-RU" sz="1500" dirty="0" smtClean="0">
              <a:cs typeface="Times New Roman" pitchFamily="18" charset="0"/>
            </a:rPr>
            <a:t>провайдером </a:t>
          </a:r>
          <a:endParaRPr lang="ru-RU" sz="1500" dirty="0"/>
        </a:p>
      </dgm:t>
    </dgm:pt>
    <dgm:pt modelId="{D96EFA05-326E-42AC-8E84-DB7D77EB168C}" type="parTrans" cxnId="{9FEC6A62-9FB3-4676-BF9E-B26D5380DC8C}">
      <dgm:prSet/>
      <dgm:spPr/>
      <dgm:t>
        <a:bodyPr/>
        <a:lstStyle/>
        <a:p>
          <a:endParaRPr lang="ru-RU" sz="1500"/>
        </a:p>
      </dgm:t>
    </dgm:pt>
    <dgm:pt modelId="{54522A4E-7976-4090-901A-3C95E1FC95F8}" type="sibTrans" cxnId="{9FEC6A62-9FB3-4676-BF9E-B26D5380DC8C}">
      <dgm:prSet/>
      <dgm:spPr/>
      <dgm:t>
        <a:bodyPr/>
        <a:lstStyle/>
        <a:p>
          <a:endParaRPr lang="ru-RU" sz="1500"/>
        </a:p>
      </dgm:t>
    </dgm:pt>
    <dgm:pt modelId="{26744843-6E16-4CBB-96A3-AB2BF5629B88}">
      <dgm:prSet phldrT="[Текст]" custT="1"/>
      <dgm:spPr/>
      <dgm:t>
        <a:bodyPr/>
        <a:lstStyle/>
        <a:p>
          <a:r>
            <a:rPr lang="ru-RU" sz="1500" dirty="0" smtClean="0">
              <a:cs typeface="Times New Roman" pitchFamily="18" charset="0"/>
            </a:rPr>
            <a:t>Получить через </a:t>
          </a:r>
          <a:r>
            <a:rPr lang="en-US" sz="1500" dirty="0" smtClean="0">
              <a:cs typeface="Times New Roman" pitchFamily="18" charset="0"/>
            </a:rPr>
            <a:t>EDI-</a:t>
          </a:r>
          <a:r>
            <a:rPr lang="ru-RU" sz="1500" dirty="0" smtClean="0">
              <a:cs typeface="Times New Roman" pitchFamily="18" charset="0"/>
            </a:rPr>
            <a:t>провайдера </a:t>
          </a:r>
          <a:r>
            <a:rPr lang="en-US" sz="1500" dirty="0" smtClean="0">
              <a:cs typeface="Times New Roman" pitchFamily="18" charset="0"/>
            </a:rPr>
            <a:t>GLN-</a:t>
          </a:r>
          <a:r>
            <a:rPr lang="ru-RU" sz="1500" dirty="0" smtClean="0">
              <a:cs typeface="Times New Roman" pitchFamily="18" charset="0"/>
            </a:rPr>
            <a:t>код (</a:t>
          </a:r>
          <a:r>
            <a:rPr lang="ru-RU" sz="1500" b="0" i="0" dirty="0" smtClean="0"/>
            <a:t>глобальный идентификатор участника)</a:t>
          </a:r>
          <a:endParaRPr lang="ru-RU" sz="1500" dirty="0"/>
        </a:p>
      </dgm:t>
    </dgm:pt>
    <dgm:pt modelId="{5A716D5D-8395-44EF-9FBD-077D0F0D674A}" type="parTrans" cxnId="{A8E88BAA-41A7-4DB5-BEC6-BFF6D5EEB09A}">
      <dgm:prSet/>
      <dgm:spPr/>
      <dgm:t>
        <a:bodyPr/>
        <a:lstStyle/>
        <a:p>
          <a:endParaRPr lang="ru-RU" sz="1500"/>
        </a:p>
      </dgm:t>
    </dgm:pt>
    <dgm:pt modelId="{F0053E0A-1420-4E51-8A25-EF02FE74CD7C}" type="sibTrans" cxnId="{A8E88BAA-41A7-4DB5-BEC6-BFF6D5EEB09A}">
      <dgm:prSet/>
      <dgm:spPr/>
      <dgm:t>
        <a:bodyPr/>
        <a:lstStyle/>
        <a:p>
          <a:endParaRPr lang="ru-RU" sz="1500"/>
        </a:p>
      </dgm:t>
    </dgm:pt>
    <dgm:pt modelId="{B158B0DE-8738-47BB-9165-BD70871ABD8D}">
      <dgm:prSet phldrT="[Текст]" custT="1"/>
      <dgm:spPr/>
      <dgm:t>
        <a:bodyPr/>
        <a:lstStyle/>
        <a:p>
          <a:r>
            <a:rPr lang="ru-RU" sz="1500" dirty="0" smtClean="0">
              <a:cs typeface="Times New Roman" pitchFamily="18" charset="0"/>
            </a:rPr>
            <a:t>Провести интеграцию учетной системы с системой </a:t>
          </a:r>
          <a:r>
            <a:rPr lang="en-US" sz="1500" dirty="0" smtClean="0">
              <a:cs typeface="Times New Roman" pitchFamily="18" charset="0"/>
            </a:rPr>
            <a:t>EDI-</a:t>
          </a:r>
          <a:r>
            <a:rPr lang="ru-RU" sz="1500" dirty="0" smtClean="0">
              <a:cs typeface="Times New Roman" pitchFamily="18" charset="0"/>
            </a:rPr>
            <a:t>провайдера</a:t>
          </a:r>
          <a:endParaRPr lang="ru-RU" sz="1500" dirty="0"/>
        </a:p>
      </dgm:t>
    </dgm:pt>
    <dgm:pt modelId="{56D4F339-9B73-43F9-969F-F822F0B0ED28}" type="parTrans" cxnId="{344E9186-52AF-4ACF-9EE4-4EE7C9B78A51}">
      <dgm:prSet/>
      <dgm:spPr/>
      <dgm:t>
        <a:bodyPr/>
        <a:lstStyle/>
        <a:p>
          <a:endParaRPr lang="ru-RU" sz="1500"/>
        </a:p>
      </dgm:t>
    </dgm:pt>
    <dgm:pt modelId="{BC4E9986-0F62-4AFE-A10F-7C22CED6670F}" type="sibTrans" cxnId="{344E9186-52AF-4ACF-9EE4-4EE7C9B78A51}">
      <dgm:prSet/>
      <dgm:spPr/>
      <dgm:t>
        <a:bodyPr/>
        <a:lstStyle/>
        <a:p>
          <a:endParaRPr lang="ru-RU" sz="1500"/>
        </a:p>
      </dgm:t>
    </dgm:pt>
    <dgm:pt modelId="{D9BB5A63-14F3-4D79-B1D3-FC753645BF6F}" type="pres">
      <dgm:prSet presAssocID="{FE3BE481-FC23-4D31-B8A9-F1FB30B435B7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B48200C5-D72A-4E24-A88F-042B59768AF8}" type="pres">
      <dgm:prSet presAssocID="{73D86990-69C5-40E6-B957-76A76ABF6054}" presName="root" presStyleCnt="0">
        <dgm:presLayoutVars>
          <dgm:chMax/>
          <dgm:chPref/>
        </dgm:presLayoutVars>
      </dgm:prSet>
      <dgm:spPr/>
    </dgm:pt>
    <dgm:pt modelId="{038EC00D-3A28-40F4-BE84-478BAC837EA5}" type="pres">
      <dgm:prSet presAssocID="{73D86990-69C5-40E6-B957-76A76ABF6054}" presName="rootComposite" presStyleCnt="0">
        <dgm:presLayoutVars/>
      </dgm:prSet>
      <dgm:spPr/>
    </dgm:pt>
    <dgm:pt modelId="{2F0F0C12-29D2-4730-80C6-B794C0578DB7}" type="pres">
      <dgm:prSet presAssocID="{73D86990-69C5-40E6-B957-76A76ABF6054}" presName="ParentAccent" presStyleLbl="alignNode1" presStyleIdx="0" presStyleCnt="1" custScaleX="125692" custScaleY="159213" custLinFactY="-35041" custLinFactNeighborX="0" custLinFactNeighborY="-100000"/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F2F36479-6289-471B-9DD0-B023F661A784}" type="pres">
      <dgm:prSet presAssocID="{73D86990-69C5-40E6-B957-76A76ABF6054}" presName="ParentSmallAccent" presStyleLbl="fgAcc1" presStyleIdx="0" presStyleCnt="1" custLinFactX="-75013" custLinFactNeighborX="-100000" custLinFactNeighborY="59236"/>
      <dgm:spPr>
        <a:ln>
          <a:solidFill>
            <a:srgbClr val="2C5697"/>
          </a:solidFill>
        </a:ln>
      </dgm:spPr>
    </dgm:pt>
    <dgm:pt modelId="{C26A4C6F-1AB3-499F-9C73-BBBDA385E18C}" type="pres">
      <dgm:prSet presAssocID="{73D86990-69C5-40E6-B957-76A76ABF6054}" presName="Parent" presStyleLbl="revTx" presStyleIdx="0" presStyleCnt="4" custScaleX="115637" custScaleY="101510">
        <dgm:presLayoutVars>
          <dgm:chMax/>
          <dgm:chPref val="4"/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798B2B43-BA5E-4C92-895E-339D3849E1E9}" type="pres">
      <dgm:prSet presAssocID="{73D86990-69C5-40E6-B957-76A76ABF6054}" presName="childShape" presStyleCnt="0">
        <dgm:presLayoutVars>
          <dgm:chMax val="0"/>
          <dgm:chPref val="0"/>
        </dgm:presLayoutVars>
      </dgm:prSet>
      <dgm:spPr/>
    </dgm:pt>
    <dgm:pt modelId="{6DFCB779-387A-4D5D-913C-125BC57829B8}" type="pres">
      <dgm:prSet presAssocID="{C7D9B7F9-ABE4-4698-9B7A-247F1F257C7A}" presName="childComposite" presStyleCnt="0">
        <dgm:presLayoutVars>
          <dgm:chMax val="0"/>
          <dgm:chPref val="0"/>
        </dgm:presLayoutVars>
      </dgm:prSet>
      <dgm:spPr/>
    </dgm:pt>
    <dgm:pt modelId="{C8592BB5-D0C0-4756-A72E-370B5AAA4700}" type="pres">
      <dgm:prSet presAssocID="{C7D9B7F9-ABE4-4698-9B7A-247F1F257C7A}" presName="ChildAccent" presStyleLbl="solidFgAcc1" presStyleIdx="0" presStyleCnt="3" custLinFactY="5761" custLinFactNeighborX="-89067" custLinFactNeighborY="100000"/>
      <dgm:spPr>
        <a:ln>
          <a:solidFill>
            <a:srgbClr val="2C5697"/>
          </a:solidFill>
        </a:ln>
      </dgm:spPr>
    </dgm:pt>
    <dgm:pt modelId="{F53E16C9-EB1A-4D38-821C-ECD1A21AAE83}" type="pres">
      <dgm:prSet presAssocID="{C7D9B7F9-ABE4-4698-9B7A-247F1F257C7A}" presName="Child" presStyleLbl="revTx" presStyleIdx="1" presStyleCnt="4" custScaleX="129773" custLinFactY="-7858" custLinFactNeighborX="8083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27F936-CCCC-4D31-AF7D-8138DD85BC3E}" type="pres">
      <dgm:prSet presAssocID="{26744843-6E16-4CBB-96A3-AB2BF5629B88}" presName="childComposite" presStyleCnt="0">
        <dgm:presLayoutVars>
          <dgm:chMax val="0"/>
          <dgm:chPref val="0"/>
        </dgm:presLayoutVars>
      </dgm:prSet>
      <dgm:spPr/>
    </dgm:pt>
    <dgm:pt modelId="{2D6CBC15-6430-459C-A853-8FCACB600B77}" type="pres">
      <dgm:prSet presAssocID="{26744843-6E16-4CBB-96A3-AB2BF5629B88}" presName="ChildAccent" presStyleLbl="solidFgAcc1" presStyleIdx="1" presStyleCnt="3" custLinFactX="-100000" custLinFactY="-309594" custLinFactNeighborX="-143105" custLinFactNeighborY="-400000"/>
      <dgm:spPr>
        <a:solidFill>
          <a:schemeClr val="lt1">
            <a:hueOff val="0"/>
            <a:satOff val="0"/>
            <a:lumOff val="0"/>
            <a:alpha val="0"/>
          </a:schemeClr>
        </a:solidFill>
        <a:ln>
          <a:noFill/>
        </a:ln>
      </dgm:spPr>
    </dgm:pt>
    <dgm:pt modelId="{06EA3557-3070-4F47-85E8-4DDB276342AE}" type="pres">
      <dgm:prSet presAssocID="{26744843-6E16-4CBB-96A3-AB2BF5629B88}" presName="Child" presStyleLbl="revTx" presStyleIdx="2" presStyleCnt="4" custScaleX="129773" custLinFactNeighborX="8109" custLinFactNeighborY="-3737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1949A8-B884-4C1E-BA27-37A58E726025}" type="pres">
      <dgm:prSet presAssocID="{B158B0DE-8738-47BB-9165-BD70871ABD8D}" presName="childComposite" presStyleCnt="0">
        <dgm:presLayoutVars>
          <dgm:chMax val="0"/>
          <dgm:chPref val="0"/>
        </dgm:presLayoutVars>
      </dgm:prSet>
      <dgm:spPr/>
    </dgm:pt>
    <dgm:pt modelId="{F8271C25-2E0B-4569-A872-BBA1B61930C9}" type="pres">
      <dgm:prSet presAssocID="{B158B0DE-8738-47BB-9165-BD70871ABD8D}" presName="ChildAccent" presStyleLbl="solidFgAcc1" presStyleIdx="2" presStyleCnt="3" custLinFactNeighborX="-89067" custLinFactNeighborY="-18440"/>
      <dgm:spPr>
        <a:noFill/>
        <a:ln>
          <a:solidFill>
            <a:srgbClr val="2C5697"/>
          </a:solidFill>
        </a:ln>
      </dgm:spPr>
    </dgm:pt>
    <dgm:pt modelId="{4F85FDF6-74CD-43B9-9EA2-371B2AD45B8D}" type="pres">
      <dgm:prSet presAssocID="{B158B0DE-8738-47BB-9165-BD70871ABD8D}" presName="Child" presStyleLbl="revTx" presStyleIdx="3" presStyleCnt="4" custScaleX="129773" custLinFactNeighborX="7193" custLinFactNeighborY="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E613F18-E396-40B7-9778-8B838B3A57C3}" type="presOf" srcId="{FE3BE481-FC23-4D31-B8A9-F1FB30B435B7}" destId="{D9BB5A63-14F3-4D79-B1D3-FC753645BF6F}" srcOrd="0" destOrd="0" presId="urn:microsoft.com/office/officeart/2008/layout/SquareAccentList"/>
    <dgm:cxn modelId="{3F315BC4-A9F6-482F-A95D-E64D826FC358}" type="presOf" srcId="{73D86990-69C5-40E6-B957-76A76ABF6054}" destId="{C26A4C6F-1AB3-499F-9C73-BBBDA385E18C}" srcOrd="0" destOrd="0" presId="urn:microsoft.com/office/officeart/2008/layout/SquareAccentList"/>
    <dgm:cxn modelId="{1B086E9C-F34B-4E11-8F38-DB050BD9F833}" srcId="{FE3BE481-FC23-4D31-B8A9-F1FB30B435B7}" destId="{73D86990-69C5-40E6-B957-76A76ABF6054}" srcOrd="0" destOrd="0" parTransId="{0C505271-1CD1-4724-AC13-B35BCAEBBACD}" sibTransId="{362C2B19-9C12-46E4-8D9C-E33778CAD067}"/>
    <dgm:cxn modelId="{139C7EB1-1C77-4B08-9381-4330C8D9DA4B}" type="presOf" srcId="{C7D9B7F9-ABE4-4698-9B7A-247F1F257C7A}" destId="{F53E16C9-EB1A-4D38-821C-ECD1A21AAE83}" srcOrd="0" destOrd="0" presId="urn:microsoft.com/office/officeart/2008/layout/SquareAccentList"/>
    <dgm:cxn modelId="{5B156632-DD84-472E-8F6F-C40433F5DFF4}" type="presOf" srcId="{26744843-6E16-4CBB-96A3-AB2BF5629B88}" destId="{06EA3557-3070-4F47-85E8-4DDB276342AE}" srcOrd="0" destOrd="0" presId="urn:microsoft.com/office/officeart/2008/layout/SquareAccentList"/>
    <dgm:cxn modelId="{8BEC91B4-F1CD-4D16-AE8A-4C2AED2313B1}" type="presOf" srcId="{B158B0DE-8738-47BB-9165-BD70871ABD8D}" destId="{4F85FDF6-74CD-43B9-9EA2-371B2AD45B8D}" srcOrd="0" destOrd="0" presId="urn:microsoft.com/office/officeart/2008/layout/SquareAccentList"/>
    <dgm:cxn modelId="{9FEC6A62-9FB3-4676-BF9E-B26D5380DC8C}" srcId="{73D86990-69C5-40E6-B957-76A76ABF6054}" destId="{C7D9B7F9-ABE4-4698-9B7A-247F1F257C7A}" srcOrd="0" destOrd="0" parTransId="{D96EFA05-326E-42AC-8E84-DB7D77EB168C}" sibTransId="{54522A4E-7976-4090-901A-3C95E1FC95F8}"/>
    <dgm:cxn modelId="{A8E88BAA-41A7-4DB5-BEC6-BFF6D5EEB09A}" srcId="{73D86990-69C5-40E6-B957-76A76ABF6054}" destId="{26744843-6E16-4CBB-96A3-AB2BF5629B88}" srcOrd="1" destOrd="0" parTransId="{5A716D5D-8395-44EF-9FBD-077D0F0D674A}" sibTransId="{F0053E0A-1420-4E51-8A25-EF02FE74CD7C}"/>
    <dgm:cxn modelId="{344E9186-52AF-4ACF-9EE4-4EE7C9B78A51}" srcId="{73D86990-69C5-40E6-B957-76A76ABF6054}" destId="{B158B0DE-8738-47BB-9165-BD70871ABD8D}" srcOrd="2" destOrd="0" parTransId="{56D4F339-9B73-43F9-969F-F822F0B0ED28}" sibTransId="{BC4E9986-0F62-4AFE-A10F-7C22CED6670F}"/>
    <dgm:cxn modelId="{3149F684-30F7-42CD-9247-70403D23F179}" type="presParOf" srcId="{D9BB5A63-14F3-4D79-B1D3-FC753645BF6F}" destId="{B48200C5-D72A-4E24-A88F-042B59768AF8}" srcOrd="0" destOrd="0" presId="urn:microsoft.com/office/officeart/2008/layout/SquareAccentList"/>
    <dgm:cxn modelId="{DBDB77BB-FCCF-4DA6-9310-0674EB58DB71}" type="presParOf" srcId="{B48200C5-D72A-4E24-A88F-042B59768AF8}" destId="{038EC00D-3A28-40F4-BE84-478BAC837EA5}" srcOrd="0" destOrd="0" presId="urn:microsoft.com/office/officeart/2008/layout/SquareAccentList"/>
    <dgm:cxn modelId="{C8A59478-8839-48AB-B149-4AA5EBCE3838}" type="presParOf" srcId="{038EC00D-3A28-40F4-BE84-478BAC837EA5}" destId="{2F0F0C12-29D2-4730-80C6-B794C0578DB7}" srcOrd="0" destOrd="0" presId="urn:microsoft.com/office/officeart/2008/layout/SquareAccentList"/>
    <dgm:cxn modelId="{22722423-A954-4F4C-869B-8B89AE154041}" type="presParOf" srcId="{038EC00D-3A28-40F4-BE84-478BAC837EA5}" destId="{F2F36479-6289-471B-9DD0-B023F661A784}" srcOrd="1" destOrd="0" presId="urn:microsoft.com/office/officeart/2008/layout/SquareAccentList"/>
    <dgm:cxn modelId="{0DEC0CCE-31A5-407D-8072-94A09112AA7A}" type="presParOf" srcId="{038EC00D-3A28-40F4-BE84-478BAC837EA5}" destId="{C26A4C6F-1AB3-499F-9C73-BBBDA385E18C}" srcOrd="2" destOrd="0" presId="urn:microsoft.com/office/officeart/2008/layout/SquareAccentList"/>
    <dgm:cxn modelId="{A22737E3-C104-4A4D-9EF7-27F745C54A70}" type="presParOf" srcId="{B48200C5-D72A-4E24-A88F-042B59768AF8}" destId="{798B2B43-BA5E-4C92-895E-339D3849E1E9}" srcOrd="1" destOrd="0" presId="urn:microsoft.com/office/officeart/2008/layout/SquareAccentList"/>
    <dgm:cxn modelId="{5FE11AA3-EE3E-4A3A-AD03-CBADBB275285}" type="presParOf" srcId="{798B2B43-BA5E-4C92-895E-339D3849E1E9}" destId="{6DFCB779-387A-4D5D-913C-125BC57829B8}" srcOrd="0" destOrd="0" presId="urn:microsoft.com/office/officeart/2008/layout/SquareAccentList"/>
    <dgm:cxn modelId="{697D1900-6536-4104-A37B-A3726B9A1B18}" type="presParOf" srcId="{6DFCB779-387A-4D5D-913C-125BC57829B8}" destId="{C8592BB5-D0C0-4756-A72E-370B5AAA4700}" srcOrd="0" destOrd="0" presId="urn:microsoft.com/office/officeart/2008/layout/SquareAccentList"/>
    <dgm:cxn modelId="{ADA9C4CE-4050-41A3-8FE4-7432D13904B6}" type="presParOf" srcId="{6DFCB779-387A-4D5D-913C-125BC57829B8}" destId="{F53E16C9-EB1A-4D38-821C-ECD1A21AAE83}" srcOrd="1" destOrd="0" presId="urn:microsoft.com/office/officeart/2008/layout/SquareAccentList"/>
    <dgm:cxn modelId="{5E4D3827-C383-47E2-8EC1-E8CB5CC31CEE}" type="presParOf" srcId="{798B2B43-BA5E-4C92-895E-339D3849E1E9}" destId="{1327F936-CCCC-4D31-AF7D-8138DD85BC3E}" srcOrd="1" destOrd="0" presId="urn:microsoft.com/office/officeart/2008/layout/SquareAccentList"/>
    <dgm:cxn modelId="{34E63FD2-3F43-4AF3-A33B-CDE27F6A58D2}" type="presParOf" srcId="{1327F936-CCCC-4D31-AF7D-8138DD85BC3E}" destId="{2D6CBC15-6430-459C-A853-8FCACB600B77}" srcOrd="0" destOrd="0" presId="urn:microsoft.com/office/officeart/2008/layout/SquareAccentList"/>
    <dgm:cxn modelId="{1B3F3BAD-6622-4D0B-B2F4-23DCC30B420F}" type="presParOf" srcId="{1327F936-CCCC-4D31-AF7D-8138DD85BC3E}" destId="{06EA3557-3070-4F47-85E8-4DDB276342AE}" srcOrd="1" destOrd="0" presId="urn:microsoft.com/office/officeart/2008/layout/SquareAccentList"/>
    <dgm:cxn modelId="{D0C94F8E-E936-4273-883D-1A7982D827FA}" type="presParOf" srcId="{798B2B43-BA5E-4C92-895E-339D3849E1E9}" destId="{C31949A8-B884-4C1E-BA27-37A58E726025}" srcOrd="2" destOrd="0" presId="urn:microsoft.com/office/officeart/2008/layout/SquareAccentList"/>
    <dgm:cxn modelId="{071878C1-8A94-44C8-A736-228F2C88257F}" type="presParOf" srcId="{C31949A8-B884-4C1E-BA27-37A58E726025}" destId="{F8271C25-2E0B-4569-A872-BBA1B61930C9}" srcOrd="0" destOrd="0" presId="urn:microsoft.com/office/officeart/2008/layout/SquareAccentList"/>
    <dgm:cxn modelId="{573B858C-456A-4BB6-BBD0-1E4D7627F4C2}" type="presParOf" srcId="{C31949A8-B884-4C1E-BA27-37A58E726025}" destId="{4F85FDF6-74CD-43B9-9EA2-371B2AD45B8D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DA253E-002B-47C1-A681-4724E3308AA5}">
      <dsp:nvSpPr>
        <dsp:cNvPr id="0" name=""/>
        <dsp:cNvSpPr/>
      </dsp:nvSpPr>
      <dsp:spPr>
        <a:xfrm rot="5400000">
          <a:off x="3989601" y="66907"/>
          <a:ext cx="1688773" cy="155982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низить расходы на передачу документов</a:t>
          </a:r>
          <a:endParaRPr lang="ru-RU" sz="1200" kern="1200" dirty="0">
            <a:solidFill>
              <a:schemeClr val="tx1"/>
            </a:solidFill>
          </a:endParaRPr>
        </a:p>
      </dsp:txBody>
      <dsp:txXfrm rot="-5400000">
        <a:off x="4304120" y="273151"/>
        <a:ext cx="1059734" cy="1147339"/>
      </dsp:txXfrm>
    </dsp:sp>
    <dsp:sp modelId="{F8444CBD-76B7-40D6-A0B5-111243622298}">
      <dsp:nvSpPr>
        <dsp:cNvPr id="0" name=""/>
        <dsp:cNvSpPr/>
      </dsp:nvSpPr>
      <dsp:spPr>
        <a:xfrm>
          <a:off x="2603173" y="441011"/>
          <a:ext cx="1132698" cy="880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Повысить надежность и безопасность обмена данными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2603173" y="441011"/>
        <a:ext cx="1132698" cy="880471"/>
      </dsp:txXfrm>
    </dsp:sp>
    <dsp:sp modelId="{B81FAE68-E99A-4660-8EE0-0FE4AD39E17B}">
      <dsp:nvSpPr>
        <dsp:cNvPr id="0" name=""/>
        <dsp:cNvSpPr/>
      </dsp:nvSpPr>
      <dsp:spPr>
        <a:xfrm rot="5400000">
          <a:off x="2299743" y="85646"/>
          <a:ext cx="1683490" cy="155982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>
            <a:solidFill>
              <a:schemeClr val="tx1"/>
            </a:solidFill>
          </a:endParaRPr>
        </a:p>
      </dsp:txBody>
      <dsp:txXfrm rot="-5400000">
        <a:off x="2611998" y="294090"/>
        <a:ext cx="1058980" cy="1142938"/>
      </dsp:txXfrm>
    </dsp:sp>
    <dsp:sp modelId="{D110E32B-63B3-44B2-9296-890BFC6DFA91}">
      <dsp:nvSpPr>
        <dsp:cNvPr id="0" name=""/>
        <dsp:cNvSpPr/>
      </dsp:nvSpPr>
      <dsp:spPr>
        <a:xfrm rot="5400000">
          <a:off x="3175085" y="1517351"/>
          <a:ext cx="1655872" cy="155982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ократить длительность закупочного цикла</a:t>
          </a:r>
          <a:endParaRPr lang="ru-RU" sz="1200" kern="1200" dirty="0">
            <a:solidFill>
              <a:schemeClr val="tx1"/>
            </a:solidFill>
          </a:endParaRPr>
        </a:p>
      </dsp:txBody>
      <dsp:txXfrm rot="-5400000">
        <a:off x="3475539" y="1737303"/>
        <a:ext cx="1054964" cy="1119922"/>
      </dsp:txXfrm>
    </dsp:sp>
    <dsp:sp modelId="{FB47B558-2D58-4589-AF34-7233E6E246BF}">
      <dsp:nvSpPr>
        <dsp:cNvPr id="0" name=""/>
        <dsp:cNvSpPr/>
      </dsp:nvSpPr>
      <dsp:spPr>
        <a:xfrm>
          <a:off x="4958228" y="1854713"/>
          <a:ext cx="1584848" cy="880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Автоматизировать  процессы  взаимодействия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4958228" y="1854713"/>
        <a:ext cx="1584848" cy="880471"/>
      </dsp:txXfrm>
    </dsp:sp>
    <dsp:sp modelId="{950F6B66-FD8E-4D49-B309-69BAC31718C2}">
      <dsp:nvSpPr>
        <dsp:cNvPr id="0" name=""/>
        <dsp:cNvSpPr/>
      </dsp:nvSpPr>
      <dsp:spPr>
        <a:xfrm rot="5400000">
          <a:off x="4894393" y="1510865"/>
          <a:ext cx="1638512" cy="155982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 rot="-5400000">
        <a:off x="5187465" y="1738050"/>
        <a:ext cx="1052368" cy="1105456"/>
      </dsp:txXfrm>
    </dsp:sp>
    <dsp:sp modelId="{2F04E3C1-A035-4D05-999D-EB077865A2CE}">
      <dsp:nvSpPr>
        <dsp:cNvPr id="0" name=""/>
        <dsp:cNvSpPr/>
      </dsp:nvSpPr>
      <dsp:spPr>
        <a:xfrm rot="5400000">
          <a:off x="4003488" y="2912142"/>
          <a:ext cx="1669578" cy="155982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ократить количество ручного труда</a:t>
          </a:r>
          <a:endParaRPr lang="ru-RU" sz="1200" kern="1200" dirty="0">
            <a:solidFill>
              <a:schemeClr val="tx1"/>
            </a:solidFill>
          </a:endParaRPr>
        </a:p>
      </dsp:txBody>
      <dsp:txXfrm rot="-5400000">
        <a:off x="4309790" y="3126383"/>
        <a:ext cx="1056974" cy="1131344"/>
      </dsp:txXfrm>
    </dsp:sp>
    <dsp:sp modelId="{1CB62DC7-C5CF-474B-9BA6-402EB49E1821}">
      <dsp:nvSpPr>
        <dsp:cNvPr id="0" name=""/>
        <dsp:cNvSpPr/>
      </dsp:nvSpPr>
      <dsp:spPr>
        <a:xfrm>
          <a:off x="2579255" y="3281186"/>
          <a:ext cx="1168056" cy="880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>
              <a:solidFill>
                <a:schemeClr val="tx1"/>
              </a:solidFill>
            </a:rPr>
            <a:t>Повысить эффективнность </a:t>
          </a:r>
          <a:r>
            <a:rPr lang="ru-RU" sz="1200" kern="1200" dirty="0" smtClean="0">
              <a:solidFill>
                <a:schemeClr val="tx1"/>
              </a:solidFill>
            </a:rPr>
            <a:t>процесса логистики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2579255" y="3281186"/>
        <a:ext cx="1168056" cy="880471"/>
      </dsp:txXfrm>
    </dsp:sp>
    <dsp:sp modelId="{8F5831EF-2760-45F9-B2F7-B85713F0E392}">
      <dsp:nvSpPr>
        <dsp:cNvPr id="0" name=""/>
        <dsp:cNvSpPr/>
      </dsp:nvSpPr>
      <dsp:spPr>
        <a:xfrm rot="5400000">
          <a:off x="2305092" y="2943384"/>
          <a:ext cx="1672792" cy="1559826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 rot="-5400000">
        <a:off x="2612768" y="3156286"/>
        <a:ext cx="1057440" cy="1134022"/>
      </dsp:txXfrm>
    </dsp:sp>
    <dsp:sp modelId="{3B491C9E-2B13-4911-B942-59CA2A0A21CC}">
      <dsp:nvSpPr>
        <dsp:cNvPr id="0" name=""/>
        <dsp:cNvSpPr/>
      </dsp:nvSpPr>
      <dsp:spPr>
        <a:xfrm rot="5400000">
          <a:off x="1437892" y="1544018"/>
          <a:ext cx="1682345" cy="1538658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Уменьшить ошибки в документах</a:t>
          </a:r>
          <a:endParaRPr lang="ru-RU" sz="1200" kern="1200" dirty="0">
            <a:solidFill>
              <a:schemeClr val="tx1"/>
            </a:solidFill>
          </a:endParaRPr>
        </a:p>
      </dsp:txBody>
      <dsp:txXfrm rot="-5400000">
        <a:off x="1755227" y="1740592"/>
        <a:ext cx="1047674" cy="1145511"/>
      </dsp:txXfrm>
    </dsp:sp>
    <dsp:sp modelId="{754A4257-49E3-47BA-B45C-6F85B3EBCFBE}">
      <dsp:nvSpPr>
        <dsp:cNvPr id="0" name=""/>
        <dsp:cNvSpPr/>
      </dsp:nvSpPr>
      <dsp:spPr>
        <a:xfrm>
          <a:off x="1598096" y="4755173"/>
          <a:ext cx="1584848" cy="880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04E9AA-067C-4B6A-A628-9CA41A8DB0DE}">
      <dsp:nvSpPr>
        <dsp:cNvPr id="0" name=""/>
        <dsp:cNvSpPr/>
      </dsp:nvSpPr>
      <dsp:spPr>
        <a:xfrm rot="5400000">
          <a:off x="8778" y="2114390"/>
          <a:ext cx="1275685" cy="1276683"/>
        </a:xfrm>
        <a:prstGeom prst="hexagon">
          <a:avLst>
            <a:gd name="adj" fmla="val 25000"/>
            <a:gd name="vf" fmla="val 115470"/>
          </a:avLst>
        </a:prstGeom>
        <a:noFill/>
        <a:ln>
          <a:solidFill>
            <a:srgbClr val="FFFFFF"/>
          </a:solidFill>
        </a:ln>
        <a:effectLst>
          <a:glow rad="127000">
            <a:schemeClr val="bg1"/>
          </a:glow>
          <a:outerShdw blurRad="50800" dist="50800" dir="5400000" algn="ctr" rotWithShape="0">
            <a:schemeClr val="bg1"/>
          </a:outerShdw>
        </a:effectLst>
        <a:scene3d>
          <a:camera prst="orthographicFront"/>
          <a:lightRig rig="chilly" dir="t"/>
        </a:scene3d>
        <a:sp3d prstMaterial="translucentPowder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</a:endParaRPr>
        </a:p>
      </dsp:txBody>
      <dsp:txXfrm rot="-5400000">
        <a:off x="221060" y="2327503"/>
        <a:ext cx="851122" cy="85045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457D68-2598-40D9-AFC5-DAA26A1C9BC9}">
      <dsp:nvSpPr>
        <dsp:cNvPr id="0" name=""/>
        <dsp:cNvSpPr/>
      </dsp:nvSpPr>
      <dsp:spPr>
        <a:xfrm>
          <a:off x="3507864" y="2437055"/>
          <a:ext cx="3474466" cy="257158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Своевременное получение информации об отгрузке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Оптимизация процесса приемки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 Сокращение времени на обработку данных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Автоматическое создание входящей поставки</a:t>
          </a:r>
          <a:endParaRPr lang="ru-RU" sz="14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/>
        </a:p>
      </dsp:txBody>
      <dsp:txXfrm>
        <a:off x="4606693" y="3136442"/>
        <a:ext cx="2319148" cy="1815713"/>
      </dsp:txXfrm>
    </dsp:sp>
    <dsp:sp modelId="{39F84A70-90C4-4C48-889A-EF56A0E63256}">
      <dsp:nvSpPr>
        <dsp:cNvPr id="0" name=""/>
        <dsp:cNvSpPr/>
      </dsp:nvSpPr>
      <dsp:spPr>
        <a:xfrm>
          <a:off x="-125190" y="2437183"/>
          <a:ext cx="3474466" cy="257145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Контроль доставки товара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Актуальная информация о фактически принятом товаре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Уменьшение ошибок в бухгалтерских документах</a:t>
          </a:r>
          <a:endParaRPr lang="ru-RU" sz="1400" kern="1200" dirty="0"/>
        </a:p>
      </dsp:txBody>
      <dsp:txXfrm>
        <a:off x="-68704" y="3136532"/>
        <a:ext cx="2319154" cy="1815618"/>
      </dsp:txXfrm>
    </dsp:sp>
    <dsp:sp modelId="{20199CF4-F111-4C14-AF48-612DBA23F402}">
      <dsp:nvSpPr>
        <dsp:cNvPr id="0" name=""/>
        <dsp:cNvSpPr/>
      </dsp:nvSpPr>
      <dsp:spPr>
        <a:xfrm>
          <a:off x="3485690" y="-353631"/>
          <a:ext cx="3474466" cy="25713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Актуальность информации о поставке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Повышение уровня и контроля поставки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Снижение ошибок и исключение дублирования данных (при </a:t>
          </a:r>
          <a:r>
            <a:rPr lang="en-US" sz="1400" kern="1200" dirty="0" smtClean="0"/>
            <a:t>EDI</a:t>
          </a:r>
          <a:r>
            <a:rPr lang="ru-RU" sz="1400" kern="1200" dirty="0" smtClean="0"/>
            <a:t>)</a:t>
          </a:r>
          <a:endParaRPr lang="ru-RU" sz="1400" kern="1200" dirty="0"/>
        </a:p>
        <a:p>
          <a:pPr marL="57150" lvl="1" indent="-57150" algn="l" defTabSz="266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600" kern="1200" dirty="0"/>
        </a:p>
      </dsp:txBody>
      <dsp:txXfrm>
        <a:off x="4584515" y="-297146"/>
        <a:ext cx="2319156" cy="1815553"/>
      </dsp:txXfrm>
    </dsp:sp>
    <dsp:sp modelId="{0E25884C-E415-41EB-9FE7-8161A789134F}">
      <dsp:nvSpPr>
        <dsp:cNvPr id="0" name=""/>
        <dsp:cNvSpPr/>
      </dsp:nvSpPr>
      <dsp:spPr>
        <a:xfrm>
          <a:off x="-114716" y="-336654"/>
          <a:ext cx="3476223" cy="25706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z="-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Контроль статуса заказа 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Подтверждение факта отправки заказа на поставку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Повышение надежности цепей поставок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Повышение бизнес-дисциплины</a:t>
          </a:r>
          <a:endParaRPr lang="ru-RU" sz="1400" kern="1200" dirty="0"/>
        </a:p>
      </dsp:txBody>
      <dsp:txXfrm>
        <a:off x="-58248" y="-280186"/>
        <a:ext cx="2320420" cy="1815014"/>
      </dsp:txXfrm>
    </dsp:sp>
    <dsp:sp modelId="{10D7315C-3C5D-4709-83E6-90BEC6C5DDF6}">
      <dsp:nvSpPr>
        <dsp:cNvPr id="0" name=""/>
        <dsp:cNvSpPr/>
      </dsp:nvSpPr>
      <dsp:spPr>
        <a:xfrm>
          <a:off x="1358766" y="266814"/>
          <a:ext cx="2026640" cy="202664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rgbClr val="2C5697"/>
              </a:solidFill>
            </a:rPr>
            <a:t>Заказ на поставку</a:t>
          </a:r>
          <a:endParaRPr lang="ru-RU" sz="1500" b="1" kern="1200" dirty="0">
            <a:solidFill>
              <a:srgbClr val="2C5697"/>
            </a:solidFill>
          </a:endParaRPr>
        </a:p>
      </dsp:txBody>
      <dsp:txXfrm>
        <a:off x="1952355" y="860403"/>
        <a:ext cx="1433051" cy="1433051"/>
      </dsp:txXfrm>
    </dsp:sp>
    <dsp:sp modelId="{D4C8D83D-8BBB-4E7C-AB76-630DCEE937E9}">
      <dsp:nvSpPr>
        <dsp:cNvPr id="0" name=""/>
        <dsp:cNvSpPr/>
      </dsp:nvSpPr>
      <dsp:spPr>
        <a:xfrm rot="5400000">
          <a:off x="3479016" y="266814"/>
          <a:ext cx="2026640" cy="202664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rgbClr val="2C5697"/>
              </a:solidFill>
            </a:rPr>
            <a:t>Ответ на заказ на поставку</a:t>
          </a:r>
          <a:endParaRPr lang="ru-RU" sz="1500" b="1" kern="1200" dirty="0">
            <a:solidFill>
              <a:srgbClr val="2C5697"/>
            </a:solidFill>
          </a:endParaRPr>
        </a:p>
      </dsp:txBody>
      <dsp:txXfrm rot="-5400000">
        <a:off x="3479016" y="860403"/>
        <a:ext cx="1433051" cy="1433051"/>
      </dsp:txXfrm>
    </dsp:sp>
    <dsp:sp modelId="{CF79EBF9-83C1-471E-8AC8-6B4B2809794F}">
      <dsp:nvSpPr>
        <dsp:cNvPr id="0" name=""/>
        <dsp:cNvSpPr/>
      </dsp:nvSpPr>
      <dsp:spPr>
        <a:xfrm rot="10800000">
          <a:off x="3479016" y="2387064"/>
          <a:ext cx="2026640" cy="202664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rgbClr val="2C5697"/>
              </a:solidFill>
            </a:rPr>
            <a:t>Уведомление об отгрузке</a:t>
          </a:r>
          <a:endParaRPr lang="ru-RU" sz="1500" b="1" kern="1200" dirty="0">
            <a:solidFill>
              <a:srgbClr val="2C5697"/>
            </a:solidFill>
          </a:endParaRPr>
        </a:p>
      </dsp:txBody>
      <dsp:txXfrm rot="10800000">
        <a:off x="3479016" y="2387064"/>
        <a:ext cx="1433051" cy="1433051"/>
      </dsp:txXfrm>
    </dsp:sp>
    <dsp:sp modelId="{265B05CA-5EAC-41F1-8251-45DC8C7A0C88}">
      <dsp:nvSpPr>
        <dsp:cNvPr id="0" name=""/>
        <dsp:cNvSpPr/>
      </dsp:nvSpPr>
      <dsp:spPr>
        <a:xfrm rot="16200000">
          <a:off x="1358766" y="2387064"/>
          <a:ext cx="2026640" cy="202664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rgbClr val="2C5697"/>
              </a:solidFill>
            </a:rPr>
            <a:t>Уведомление о приемке                (для </a:t>
          </a:r>
          <a:r>
            <a:rPr lang="en-US" sz="1500" b="1" kern="1200" dirty="0" smtClean="0">
              <a:solidFill>
                <a:srgbClr val="2C5697"/>
              </a:solidFill>
            </a:rPr>
            <a:t>EDI)</a:t>
          </a:r>
          <a:endParaRPr lang="ru-RU" sz="1500" b="1" kern="1200" dirty="0">
            <a:solidFill>
              <a:srgbClr val="2C5697"/>
            </a:solidFill>
          </a:endParaRPr>
        </a:p>
      </dsp:txBody>
      <dsp:txXfrm rot="5400000">
        <a:off x="1952355" y="2387064"/>
        <a:ext cx="1433051" cy="1433051"/>
      </dsp:txXfrm>
    </dsp:sp>
    <dsp:sp modelId="{95A06C81-14A7-4847-983C-97E1134E3180}">
      <dsp:nvSpPr>
        <dsp:cNvPr id="0" name=""/>
        <dsp:cNvSpPr/>
      </dsp:nvSpPr>
      <dsp:spPr>
        <a:xfrm>
          <a:off x="3082347" y="1919018"/>
          <a:ext cx="699729" cy="60846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22C0F5-203A-4BBA-BD40-BAAA5E437F41}">
      <dsp:nvSpPr>
        <dsp:cNvPr id="0" name=""/>
        <dsp:cNvSpPr/>
      </dsp:nvSpPr>
      <dsp:spPr>
        <a:xfrm rot="10800000">
          <a:off x="3082347" y="2153041"/>
          <a:ext cx="699729" cy="608460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0DB9A4-7BCA-40D4-B127-72DDB3AE473D}">
      <dsp:nvSpPr>
        <dsp:cNvPr id="0" name=""/>
        <dsp:cNvSpPr/>
      </dsp:nvSpPr>
      <dsp:spPr>
        <a:xfrm>
          <a:off x="5272" y="989791"/>
          <a:ext cx="2220280" cy="155400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tx1"/>
              </a:solidFill>
            </a:rPr>
            <a:t>Выбрать схему работы: </a:t>
          </a:r>
        </a:p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tx1"/>
              </a:solidFill>
            </a:rPr>
            <a:t>- портал </a:t>
          </a:r>
          <a:r>
            <a:rPr lang="en-US" sz="1500" b="1" kern="1200" dirty="0" smtClean="0">
              <a:solidFill>
                <a:schemeClr val="tx1"/>
              </a:solidFill>
            </a:rPr>
            <a:t>SAP SRM-SUS</a:t>
          </a:r>
          <a:r>
            <a:rPr lang="en-US" sz="1500" kern="1200" dirty="0" smtClean="0">
              <a:solidFill>
                <a:schemeClr val="tx1"/>
              </a:solidFill>
            </a:rPr>
            <a:t> </a:t>
          </a:r>
          <a:r>
            <a:rPr lang="ru-RU" sz="1500" kern="1200" dirty="0" smtClean="0">
              <a:solidFill>
                <a:schemeClr val="tx1"/>
              </a:solidFill>
            </a:rPr>
            <a:t>или </a:t>
          </a:r>
        </a:p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tx1"/>
              </a:solidFill>
            </a:rPr>
            <a:t>  - интеграция с </a:t>
          </a:r>
          <a:r>
            <a:rPr lang="en-US" sz="1500" b="1" kern="1200" dirty="0" smtClean="0">
              <a:solidFill>
                <a:schemeClr val="tx1"/>
              </a:solidFill>
            </a:rPr>
            <a:t>EDI-</a:t>
          </a:r>
          <a:r>
            <a:rPr lang="ru-RU" sz="1500" b="1" kern="1200" dirty="0" smtClean="0">
              <a:solidFill>
                <a:schemeClr val="tx1"/>
              </a:solidFill>
            </a:rPr>
            <a:t>провайдером</a:t>
          </a:r>
          <a:endParaRPr lang="ru-RU" sz="1500" b="1" kern="1200" dirty="0">
            <a:solidFill>
              <a:schemeClr val="tx1"/>
            </a:solidFill>
          </a:endParaRPr>
        </a:p>
      </dsp:txBody>
      <dsp:txXfrm>
        <a:off x="50787" y="1035306"/>
        <a:ext cx="2129250" cy="1462972"/>
      </dsp:txXfrm>
    </dsp:sp>
    <dsp:sp modelId="{2999FACA-6296-4378-8D94-365F56544923}">
      <dsp:nvSpPr>
        <dsp:cNvPr id="0" name=""/>
        <dsp:cNvSpPr/>
      </dsp:nvSpPr>
      <dsp:spPr>
        <a:xfrm>
          <a:off x="2330674" y="1636441"/>
          <a:ext cx="222858" cy="260702"/>
        </a:xfrm>
        <a:prstGeom prst="rightArrow">
          <a:avLst>
            <a:gd name="adj1" fmla="val 60000"/>
            <a:gd name="adj2" fmla="val 50000"/>
          </a:avLst>
        </a:prstGeom>
        <a:solidFill>
          <a:srgbClr val="4A7EBB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/>
        </a:p>
      </dsp:txBody>
      <dsp:txXfrm>
        <a:off x="2330674" y="1688581"/>
        <a:ext cx="156001" cy="156422"/>
      </dsp:txXfrm>
    </dsp:sp>
    <dsp:sp modelId="{98E51AF4-B4DB-49DF-8EF4-25383DC3035D}">
      <dsp:nvSpPr>
        <dsp:cNvPr id="0" name=""/>
        <dsp:cNvSpPr/>
      </dsp:nvSpPr>
      <dsp:spPr>
        <a:xfrm>
          <a:off x="2646040" y="989791"/>
          <a:ext cx="2220280" cy="1554002"/>
        </a:xfrm>
        <a:prstGeom prst="roundRect">
          <a:avLst>
            <a:gd name="adj" fmla="val 10000"/>
          </a:avLst>
        </a:prstGeom>
        <a:solidFill>
          <a:schemeClr val="tx2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tx1"/>
              </a:solidFill>
              <a:cs typeface="Times New Roman" pitchFamily="18" charset="0"/>
            </a:rPr>
            <a:t>Заключить с предприятием Группы НЛМК Соглашение об ЭОД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2691555" y="1035306"/>
        <a:ext cx="2129250" cy="1462972"/>
      </dsp:txXfrm>
    </dsp:sp>
    <dsp:sp modelId="{B5B3A5A2-A32A-4B5F-9629-F26B18FC88A4}">
      <dsp:nvSpPr>
        <dsp:cNvPr id="0" name=""/>
        <dsp:cNvSpPr/>
      </dsp:nvSpPr>
      <dsp:spPr>
        <a:xfrm rot="21588570">
          <a:off x="4971441" y="1632030"/>
          <a:ext cx="222859" cy="260702"/>
        </a:xfrm>
        <a:prstGeom prst="rightArrow">
          <a:avLst>
            <a:gd name="adj1" fmla="val 60000"/>
            <a:gd name="adj2" fmla="val 50000"/>
          </a:avLst>
        </a:prstGeom>
        <a:solidFill>
          <a:srgbClr val="4A7EBB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/>
        </a:p>
      </dsp:txBody>
      <dsp:txXfrm>
        <a:off x="4971441" y="1684281"/>
        <a:ext cx="156001" cy="156422"/>
      </dsp:txXfrm>
    </dsp:sp>
    <dsp:sp modelId="{8CE78DA4-E5DD-427A-89D0-FF094ADBED17}">
      <dsp:nvSpPr>
        <dsp:cNvPr id="0" name=""/>
        <dsp:cNvSpPr/>
      </dsp:nvSpPr>
      <dsp:spPr>
        <a:xfrm>
          <a:off x="5286807" y="981011"/>
          <a:ext cx="2220280" cy="1554002"/>
        </a:xfrm>
        <a:prstGeom prst="roundRect">
          <a:avLst>
            <a:gd name="adj" fmla="val 10000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Получить от НЛМК параметры </a:t>
          </a:r>
          <a:r>
            <a:rPr lang="ru-RU" sz="1500" b="0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доступа</a:t>
          </a:r>
          <a:r>
            <a:rPr lang="ru-RU" sz="1500" b="1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 </a:t>
          </a:r>
          <a:r>
            <a:rPr lang="ru-RU" sz="1500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к </a:t>
          </a:r>
          <a:r>
            <a:rPr lang="en-US" sz="1500" b="1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SAP SRM-SUS </a:t>
          </a:r>
          <a:endParaRPr lang="ru-RU" sz="1500" b="1" kern="1200" dirty="0" smtClean="0">
            <a:solidFill>
              <a:schemeClr val="tx1">
                <a:lumMod val="85000"/>
                <a:lumOff val="15000"/>
              </a:schemeClr>
            </a:solidFill>
            <a:cs typeface="Times New Roman" pitchFamily="18" charset="0"/>
          </a:endParaRP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или организовать взаимодействие через </a:t>
          </a:r>
          <a:r>
            <a:rPr lang="en-US" sz="1500" b="1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EDI-</a:t>
          </a:r>
          <a:r>
            <a:rPr lang="ru-RU" sz="1500" b="1" kern="1200" dirty="0" smtClean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rPr>
            <a:t>провайдера </a:t>
          </a:r>
          <a:endParaRPr lang="ru-RU" sz="1500" b="1" kern="1200" dirty="0"/>
        </a:p>
      </dsp:txBody>
      <dsp:txXfrm>
        <a:off x="5332322" y="1026526"/>
        <a:ext cx="2129250" cy="1462972"/>
      </dsp:txXfrm>
    </dsp:sp>
    <dsp:sp modelId="{D6D40A8C-FAAA-47E6-869F-696ED2A7960C}">
      <dsp:nvSpPr>
        <dsp:cNvPr id="0" name=""/>
        <dsp:cNvSpPr/>
      </dsp:nvSpPr>
      <dsp:spPr>
        <a:xfrm rot="11430">
          <a:off x="7612209" y="1632072"/>
          <a:ext cx="222859" cy="260702"/>
        </a:xfrm>
        <a:prstGeom prst="rightArrow">
          <a:avLst>
            <a:gd name="adj1" fmla="val 60000"/>
            <a:gd name="adj2" fmla="val 50000"/>
          </a:avLst>
        </a:prstGeom>
        <a:solidFill>
          <a:srgbClr val="4A7EBB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/>
        </a:p>
      </dsp:txBody>
      <dsp:txXfrm>
        <a:off x="7612209" y="1684101"/>
        <a:ext cx="156001" cy="156422"/>
      </dsp:txXfrm>
    </dsp:sp>
    <dsp:sp modelId="{C77BAC38-9D9A-422B-B9D0-946E09593E15}">
      <dsp:nvSpPr>
        <dsp:cNvPr id="0" name=""/>
        <dsp:cNvSpPr/>
      </dsp:nvSpPr>
      <dsp:spPr>
        <a:xfrm>
          <a:off x="7927575" y="989791"/>
          <a:ext cx="2220280" cy="1554002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tx1"/>
              </a:solidFill>
              <a:cs typeface="Times New Roman" pitchFamily="18" charset="0"/>
            </a:rPr>
            <a:t>Провести тестовые обмены электронными документами с НЛМК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7973090" y="1035306"/>
        <a:ext cx="2129250" cy="14629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0F0C12-29D2-4730-80C6-B794C0578DB7}">
      <dsp:nvSpPr>
        <dsp:cNvPr id="0" name=""/>
        <dsp:cNvSpPr/>
      </dsp:nvSpPr>
      <dsp:spPr>
        <a:xfrm>
          <a:off x="609209" y="52985"/>
          <a:ext cx="3462101" cy="515931"/>
        </a:xfrm>
        <a:prstGeom prst="flowChartAlternateProcess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F36479-6289-471B-9DD0-B023F661A784}">
      <dsp:nvSpPr>
        <dsp:cNvPr id="0" name=""/>
        <dsp:cNvSpPr/>
      </dsp:nvSpPr>
      <dsp:spPr>
        <a:xfrm>
          <a:off x="608903" y="828091"/>
          <a:ext cx="202350" cy="2023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2C5697"/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6A4C6F-1AB3-499F-9C73-BBBDA385E18C}">
      <dsp:nvSpPr>
        <dsp:cNvPr id="0" name=""/>
        <dsp:cNvSpPr/>
      </dsp:nvSpPr>
      <dsp:spPr>
        <a:xfrm>
          <a:off x="747688" y="0"/>
          <a:ext cx="3185143" cy="590921"/>
        </a:xfrm>
        <a:prstGeom prst="flowChartAlternateProcess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cs typeface="Times New Roman" pitchFamily="18" charset="0"/>
            </a:rPr>
            <a:t>Для </a:t>
          </a:r>
          <a:r>
            <a:rPr lang="en-US" sz="1500" kern="1200" dirty="0" smtClean="0">
              <a:cs typeface="Times New Roman" pitchFamily="18" charset="0"/>
            </a:rPr>
            <a:t>EDI</a:t>
          </a:r>
          <a:r>
            <a:rPr lang="ru-RU" sz="1500" kern="1200" dirty="0" smtClean="0">
              <a:cs typeface="Times New Roman" pitchFamily="18" charset="0"/>
            </a:rPr>
            <a:t> дополнительно необходимо:</a:t>
          </a:r>
          <a:endParaRPr lang="ru-RU" sz="1500" kern="1200" dirty="0"/>
        </a:p>
      </dsp:txBody>
      <dsp:txXfrm>
        <a:off x="776534" y="28846"/>
        <a:ext cx="3127451" cy="533229"/>
      </dsp:txXfrm>
    </dsp:sp>
    <dsp:sp modelId="{C8592BB5-D0C0-4756-A72E-370B5AAA4700}">
      <dsp:nvSpPr>
        <dsp:cNvPr id="0" name=""/>
        <dsp:cNvSpPr/>
      </dsp:nvSpPr>
      <dsp:spPr>
        <a:xfrm>
          <a:off x="617511" y="1489843"/>
          <a:ext cx="202345" cy="20234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2C5697"/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3E16C9-EB1A-4D38-821C-ECD1A21AAE83}">
      <dsp:nvSpPr>
        <dsp:cNvPr id="0" name=""/>
        <dsp:cNvSpPr/>
      </dsp:nvSpPr>
      <dsp:spPr>
        <a:xfrm>
          <a:off x="816265" y="632447"/>
          <a:ext cx="3324294" cy="4716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cs typeface="Times New Roman" pitchFamily="18" charset="0"/>
            </a:rPr>
            <a:t>Заключить договор с </a:t>
          </a:r>
          <a:r>
            <a:rPr lang="en-US" sz="1500" kern="1200" dirty="0" smtClean="0">
              <a:cs typeface="Times New Roman" pitchFamily="18" charset="0"/>
            </a:rPr>
            <a:t>EDI-</a:t>
          </a:r>
          <a:r>
            <a:rPr lang="ru-RU" sz="1500" kern="1200" dirty="0" smtClean="0">
              <a:cs typeface="Times New Roman" pitchFamily="18" charset="0"/>
            </a:rPr>
            <a:t>провайдером </a:t>
          </a:r>
          <a:endParaRPr lang="ru-RU" sz="1500" kern="1200" dirty="0"/>
        </a:p>
      </dsp:txBody>
      <dsp:txXfrm>
        <a:off x="816265" y="632447"/>
        <a:ext cx="3324294" cy="471668"/>
      </dsp:txXfrm>
    </dsp:sp>
    <dsp:sp modelId="{2D6CBC15-6430-459C-A853-8FCACB600B77}">
      <dsp:nvSpPr>
        <dsp:cNvPr id="0" name=""/>
        <dsp:cNvSpPr/>
      </dsp:nvSpPr>
      <dsp:spPr>
        <a:xfrm>
          <a:off x="305822" y="311676"/>
          <a:ext cx="202345" cy="202345"/>
        </a:xfrm>
        <a:prstGeom prst="rect">
          <a:avLst/>
        </a:prstGeom>
        <a:solidFill>
          <a:schemeClr val="lt1">
            <a:hueOff val="0"/>
            <a:satOff val="0"/>
            <a:lumOff val="0"/>
            <a:alpha val="0"/>
          </a:schemeClr>
        </a:solidFill>
        <a:ln w="9525" cap="flat" cmpd="sng" algn="ctr">
          <a:noFill/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EA3557-3070-4F47-85E8-4DDB276342AE}">
      <dsp:nvSpPr>
        <dsp:cNvPr id="0" name=""/>
        <dsp:cNvSpPr/>
      </dsp:nvSpPr>
      <dsp:spPr>
        <a:xfrm>
          <a:off x="816931" y="1436542"/>
          <a:ext cx="3324294" cy="4716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cs typeface="Times New Roman" pitchFamily="18" charset="0"/>
            </a:rPr>
            <a:t>Получить через </a:t>
          </a:r>
          <a:r>
            <a:rPr lang="en-US" sz="1500" kern="1200" dirty="0" smtClean="0">
              <a:cs typeface="Times New Roman" pitchFamily="18" charset="0"/>
            </a:rPr>
            <a:t>EDI-</a:t>
          </a:r>
          <a:r>
            <a:rPr lang="ru-RU" sz="1500" kern="1200" dirty="0" smtClean="0">
              <a:cs typeface="Times New Roman" pitchFamily="18" charset="0"/>
            </a:rPr>
            <a:t>провайдера </a:t>
          </a:r>
          <a:r>
            <a:rPr lang="en-US" sz="1500" kern="1200" dirty="0" smtClean="0">
              <a:cs typeface="Times New Roman" pitchFamily="18" charset="0"/>
            </a:rPr>
            <a:t>GLN-</a:t>
          </a:r>
          <a:r>
            <a:rPr lang="ru-RU" sz="1500" kern="1200" dirty="0" smtClean="0">
              <a:cs typeface="Times New Roman" pitchFamily="18" charset="0"/>
            </a:rPr>
            <a:t>код (</a:t>
          </a:r>
          <a:r>
            <a:rPr lang="ru-RU" sz="1500" b="0" i="0" kern="1200" dirty="0" smtClean="0"/>
            <a:t>глобальный идентификатор участника)</a:t>
          </a:r>
          <a:endParaRPr lang="ru-RU" sz="1500" kern="1200" dirty="0"/>
        </a:p>
      </dsp:txBody>
      <dsp:txXfrm>
        <a:off x="816931" y="1436542"/>
        <a:ext cx="3324294" cy="471668"/>
      </dsp:txXfrm>
    </dsp:sp>
    <dsp:sp modelId="{F8271C25-2E0B-4569-A872-BBA1B61930C9}">
      <dsp:nvSpPr>
        <dsp:cNvPr id="0" name=""/>
        <dsp:cNvSpPr/>
      </dsp:nvSpPr>
      <dsp:spPr>
        <a:xfrm>
          <a:off x="617511" y="2181864"/>
          <a:ext cx="202345" cy="202345"/>
        </a:xfrm>
        <a:prstGeom prst="rect">
          <a:avLst/>
        </a:prstGeom>
        <a:noFill/>
        <a:ln w="9525" cap="flat" cmpd="sng" algn="ctr">
          <a:solidFill>
            <a:srgbClr val="2C5697"/>
          </a:solidFill>
          <a:prstDash val="solid"/>
        </a:ln>
        <a:effectLst/>
        <a:scene3d>
          <a:camera prst="orthographicFront"/>
          <a:lightRig rig="chilly" dir="t"/>
        </a:scene3d>
        <a:sp3d z="12700"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85FDF6-74CD-43B9-9EA2-371B2AD45B8D}">
      <dsp:nvSpPr>
        <dsp:cNvPr id="0" name=""/>
        <dsp:cNvSpPr/>
      </dsp:nvSpPr>
      <dsp:spPr>
        <a:xfrm>
          <a:off x="793466" y="2084614"/>
          <a:ext cx="3324294" cy="4716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cs typeface="Times New Roman" pitchFamily="18" charset="0"/>
            </a:rPr>
            <a:t>Провести интеграцию учетной системы с системой </a:t>
          </a:r>
          <a:r>
            <a:rPr lang="en-US" sz="1500" kern="1200" dirty="0" smtClean="0">
              <a:cs typeface="Times New Roman" pitchFamily="18" charset="0"/>
            </a:rPr>
            <a:t>EDI-</a:t>
          </a:r>
          <a:r>
            <a:rPr lang="ru-RU" sz="1500" kern="1200" dirty="0" smtClean="0">
              <a:cs typeface="Times New Roman" pitchFamily="18" charset="0"/>
            </a:rPr>
            <a:t>провайдера</a:t>
          </a:r>
          <a:endParaRPr lang="ru-RU" sz="1500" kern="1200" dirty="0"/>
        </a:p>
      </dsp:txBody>
      <dsp:txXfrm>
        <a:off x="793466" y="2084614"/>
        <a:ext cx="3324294" cy="4716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198C65A-FD76-41B1-8446-9E57148F8C55}" type="datetimeFigureOut">
              <a:rPr lang="ru-RU"/>
              <a:pPr>
                <a:defRPr/>
              </a:pPr>
              <a:t>24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45CB197A-D292-4ACC-93AA-A5CC783C3D0D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0429767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CB197A-D292-4ACC-93AA-A5CC783C3D0D}" type="slidenum">
              <a:rPr lang="ru-RU" altLang="en-US"/>
              <a:pPr/>
              <a:t>4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198445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CB197A-D292-4ACC-93AA-A5CC783C3D0D}" type="slidenum">
              <a:rPr lang="ru-RU" altLang="en-US" smtClean="0"/>
              <a:pPr/>
              <a:t>5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5251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CB197A-D292-4ACC-93AA-A5CC783C3D0D}" type="slidenum">
              <a:rPr lang="ru-RU" altLang="en-US"/>
              <a:pPr/>
              <a:t>7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854047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CB197A-D292-4ACC-93AA-A5CC783C3D0D}" type="slidenum">
              <a:rPr lang="ru-RU" altLang="en-US" smtClean="0"/>
              <a:pPr/>
              <a:t>8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361940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CB197A-D292-4ACC-93AA-A5CC783C3D0D}" type="slidenum">
              <a:rPr lang="ru-RU" altLang="en-US"/>
              <a:pPr/>
              <a:t>9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427882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 userDrawn="1"/>
        </p:nvSpPr>
        <p:spPr>
          <a:xfrm>
            <a:off x="6190469" y="4437065"/>
            <a:ext cx="5850699" cy="147002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00" smtClean="0"/>
              <a:t>Образец заголовка</a:t>
            </a:r>
            <a:endParaRPr lang="ru-RU" sz="210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7344835" y="4509120"/>
            <a:ext cx="4415796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ru-RU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3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6626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5" y="4406905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4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E9B165-A5E7-443B-8E60-B9B69CF240E6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327005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1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58A968-97FA-49A9-BD55-B2A32ABACD85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6228403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F1D28C-23BB-4539-8473-A160D456821D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426219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599C15-11E4-4F96-84E4-7AF125FC0355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3169844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B895C0-AF25-4E12-8CD2-F304917B3E5F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25642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389A49-6234-4D37-A9B2-8F64A149A469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9510941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9D43C8-3827-461F-80D3-7D8B4B1C2F04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5894454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5853D27-B221-4E0E-8CF8-8FE3B665ADE4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072959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1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37634A-F334-487B-91DD-29E61B355DF6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4674417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BAC81-D536-4D99-AB62-59CFBDF91CBD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8618945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877AC0C-1CB4-4E8A-A1BA-DB6B46068DC7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2940807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B9A8DB-1B2A-4381-ACCC-EE98078F9002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3951051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0E9562-AAEC-41BC-8884-DEBFE7F541A3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8559939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188640"/>
            <a:ext cx="9614859" cy="634082"/>
          </a:xfrm>
          <a:prstGeom prst="rect">
            <a:avLst/>
          </a:prstGeom>
        </p:spPr>
        <p:txBody>
          <a:bodyPr anchor="ctr" anchorCtr="0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052741"/>
            <a:ext cx="10972800" cy="4525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557287" indent="-214341"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7BB28E-1A4A-4DD7-9DBE-5064D8FD5719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032759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5" y="4406905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4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7AA8DB-885C-4260-B6FC-4004A60E4E17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672299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1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DC0A45-9A41-47F5-84A5-04E40EBDEDDD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0965339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318069-56A3-47B3-876A-DD547BFF73F3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2864362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83C8F8-D42F-4033-A84F-F3B97C5938C0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9987724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123512-77E1-428F-A397-58A14BF94B9D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8101567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C000BB-8710-420E-94F7-670F6EA7FB0B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7143248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02C19F-28D0-4325-BA23-D6E43F3152AA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86875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5" y="4406905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4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343F9698-A282-4119-A1DB-62D4F65CF33A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487573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512092-ABD9-4F9A-A168-192BE74C0737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9900253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1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02DE4-9B99-4A64-8D27-822E16C06BB5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4498004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3B3B69-1A26-4752-930C-6C5D351F3B48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0023498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868DEB-A58D-4C87-858C-F75C25FE3082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6071959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188640"/>
            <a:ext cx="9614859" cy="634082"/>
          </a:xfrm>
          <a:prstGeom prst="rect">
            <a:avLst/>
          </a:prstGeom>
        </p:spPr>
        <p:txBody>
          <a:bodyPr anchor="ctr" anchorCtr="0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052741"/>
            <a:ext cx="10972800" cy="4525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557287" indent="-214341"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1175C6-7122-4C0F-97E0-70A7DCFBFE2E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3833214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5" y="4406905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4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25F1FF9-07F0-4002-98C1-D118F621B480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9502693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1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BCC8B6-338A-445D-9891-28925D4FB8DD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3401956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5B50C0D-2E3E-4620-B96A-B7429998D5A8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8263730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8E88623-700B-473D-A901-FF8F6F685FD9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8134579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77E59FE-1563-4C7A-8BE5-2C91707A01F1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870811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1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53084354-5826-41A6-B5B2-47E92E142CCD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5811947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1C53F5C-C064-4816-8B15-60B27965EFE2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5653622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BC241F-185B-4C20-A540-87096EE51F91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88976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4A836E-6D80-4132-B000-240EE5163986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178522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1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11AD81-4F05-450E-8B62-4DEBA210EF50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0007654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3A8DA30-3CDB-4265-89BB-D27D2571A927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8127981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6011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695417" y="6300790"/>
            <a:ext cx="9515127" cy="365125"/>
          </a:xfrm>
          <a:prstGeom prst="rect">
            <a:avLst/>
          </a:prstGeom>
          <a:solidFill>
            <a:srgbClr val="2C5697"/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750">
                <a:solidFill>
                  <a:srgbClr val="FFFFFF"/>
                </a:solidFill>
                <a:latin typeface="Verdana" panose="020B0604030504040204" pitchFamily="34" charset="0"/>
              </a:defRPr>
            </a:lvl1pPr>
          </a:lstStyle>
          <a:p>
            <a:fld id="{0A88F068-43DF-4B17-8375-B6F272751F03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434239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5" y="4406905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4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8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72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6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62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695416" y="6237290"/>
            <a:ext cx="9432565" cy="365125"/>
          </a:xfrm>
          <a:prstGeom prst="rect">
            <a:avLst/>
          </a:prstGeom>
          <a:solidFill>
            <a:srgbClr val="2C5697"/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75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BCDAA45F-5E7C-478D-8E34-E8CF0E9AB716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7828326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1" y="1600205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3402456" y="6318252"/>
            <a:ext cx="2845171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A0118248-6A19-4523-9A18-75AF54AAE46B}" type="datetime1">
              <a:rPr lang="ru-RU"/>
              <a:pPr>
                <a:defRPr/>
              </a:pPr>
              <a:t>24.03.2022</a:t>
            </a:fld>
            <a:endParaRPr lang="ru-RU"/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1"/>
          </p:nvPr>
        </p:nvSpPr>
        <p:spPr>
          <a:xfrm>
            <a:off x="609680" y="6237290"/>
            <a:ext cx="9591336" cy="365125"/>
          </a:xfrm>
          <a:prstGeom prst="rect">
            <a:avLst/>
          </a:prstGeom>
          <a:solidFill>
            <a:srgbClr val="2C5697"/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47FAEDBA-A46D-4ED5-8FC9-D9AC8DC51D67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6188153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0"/>
          </p:nvPr>
        </p:nvSpPr>
        <p:spPr>
          <a:xfrm>
            <a:off x="839898" y="6237290"/>
            <a:ext cx="9361119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8"/>
          <p:cNvSpPr>
            <a:spLocks noGrp="1"/>
          </p:cNvSpPr>
          <p:nvPr>
            <p:ph type="sldNum" sz="quarter" idx="11"/>
          </p:nvPr>
        </p:nvSpPr>
        <p:spPr>
          <a:xfrm>
            <a:off x="609680" y="6237290"/>
            <a:ext cx="9591336" cy="365125"/>
          </a:xfrm>
          <a:prstGeom prst="rect">
            <a:avLst/>
          </a:prstGeom>
          <a:solidFill>
            <a:srgbClr val="2C5697"/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EBA04502-2352-4289-9F67-28E0B4ADB050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50927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46" indent="0">
              <a:buNone/>
              <a:defRPr sz="1500" b="1"/>
            </a:lvl2pPr>
            <a:lvl3pPr marL="685891" indent="0">
              <a:buNone/>
              <a:defRPr sz="135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85AAE5F3-E290-45D2-B310-9703CACE1ABB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133677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313800" y="6356352"/>
            <a:ext cx="2845171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23026D0E-AF5E-44B2-A7D4-03BB65809DF2}" type="datetime1">
              <a:rPr lang="ru-RU"/>
              <a:pPr>
                <a:defRPr/>
              </a:pPr>
              <a:t>24.03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679739" y="6356352"/>
            <a:ext cx="158453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5416" y="6237290"/>
            <a:ext cx="943256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110F13D8-B9D5-4366-9159-0FD05E1B4402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3226603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10488391" y="6356352"/>
            <a:ext cx="158453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695416" y="6237290"/>
            <a:ext cx="943256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2FD55B10-23E0-4B0A-B172-151EB6D1F9C5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1300470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6DB8ACDB-1C76-4BAF-A39C-B0A1CAFA76EC}" type="datetime1">
              <a:rPr lang="ru-RU"/>
              <a:pPr>
                <a:defRPr/>
              </a:pPr>
              <a:t>24.03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10488391" y="6356352"/>
            <a:ext cx="158453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95416" y="6237290"/>
            <a:ext cx="943256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3D634760-34CD-4182-A597-4BB9819ED6CF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5620856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46" indent="0">
              <a:buNone/>
              <a:defRPr sz="2100"/>
            </a:lvl2pPr>
            <a:lvl3pPr marL="685891" indent="0">
              <a:buNone/>
              <a:defRPr sz="1800"/>
            </a:lvl3pPr>
            <a:lvl4pPr marL="1028837" indent="0">
              <a:buNone/>
              <a:defRPr sz="1500"/>
            </a:lvl4pPr>
            <a:lvl5pPr marL="1371783" indent="0">
              <a:buNone/>
              <a:defRPr sz="1500"/>
            </a:lvl5pPr>
            <a:lvl6pPr marL="1714729" indent="0">
              <a:buNone/>
              <a:defRPr sz="1500"/>
            </a:lvl6pPr>
            <a:lvl7pPr marL="2057674" indent="0">
              <a:buNone/>
              <a:defRPr sz="1500"/>
            </a:lvl7pPr>
            <a:lvl8pPr marL="2400620" indent="0">
              <a:buNone/>
              <a:defRPr sz="1500"/>
            </a:lvl8pPr>
            <a:lvl9pPr marL="2743566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46" indent="0">
              <a:buNone/>
              <a:defRPr sz="900"/>
            </a:lvl2pPr>
            <a:lvl3pPr marL="685891" indent="0">
              <a:buNone/>
              <a:defRPr sz="750"/>
            </a:lvl3pPr>
            <a:lvl4pPr marL="1028837" indent="0">
              <a:buNone/>
              <a:defRPr sz="675"/>
            </a:lvl4pPr>
            <a:lvl5pPr marL="1371783" indent="0">
              <a:buNone/>
              <a:defRPr sz="675"/>
            </a:lvl5pPr>
            <a:lvl6pPr marL="1714729" indent="0">
              <a:buNone/>
              <a:defRPr sz="675"/>
            </a:lvl6pPr>
            <a:lvl7pPr marL="2057674" indent="0">
              <a:buNone/>
              <a:defRPr sz="675"/>
            </a:lvl7pPr>
            <a:lvl8pPr marL="2400620" indent="0">
              <a:buNone/>
              <a:defRPr sz="675"/>
            </a:lvl8pPr>
            <a:lvl9pPr marL="2743566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D1FA1A80-602D-4ADF-B846-3EF76EAE31D5}" type="datetime1">
              <a:rPr lang="ru-RU"/>
              <a:pPr>
                <a:defRPr/>
              </a:pPr>
              <a:t>24.03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10488391" y="6356352"/>
            <a:ext cx="158453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95416" y="6237290"/>
            <a:ext cx="943256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B0A6EE9F-86CC-4576-BDC2-BC85C4BC4F34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507998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25FC02A9-70FA-4439-AC11-A3B3935E57ED}" type="datetime1">
              <a:rPr lang="ru-RU"/>
              <a:pPr>
                <a:defRPr/>
              </a:pPr>
              <a:t>24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0488391" y="6356352"/>
            <a:ext cx="158453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5416" y="6237290"/>
            <a:ext cx="943256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4A6B3F3D-1036-4D22-969F-7AF7B84A54DF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3796914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1" y="274641"/>
            <a:ext cx="8026400" cy="5851525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3200816" y="5478465"/>
            <a:ext cx="2845171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498B91A9-CC2A-4B10-A37A-31F64B7D7101}" type="datetime1">
              <a:rPr lang="ru-RU"/>
              <a:pPr>
                <a:defRPr/>
              </a:pPr>
              <a:t>24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085992" y="5721352"/>
            <a:ext cx="1584531" cy="365125"/>
          </a:xfrm>
          <a:prstGeom prst="rect">
            <a:avLst/>
          </a:prstGeom>
          <a:solidFill>
            <a:srgbClr val="2C5697"/>
          </a:solidFill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25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0FD4ACED-3A2F-48E9-80E0-B57C3560F3E2}" type="slidenum">
              <a:rPr lang="ru-RU" altLang="en-US"/>
              <a:pPr/>
              <a:t>‹#›</a:t>
            </a:fld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5416" y="6237290"/>
            <a:ext cx="943256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fld id="{7083F552-1C96-4307-9A47-FE6A2BFDA142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642246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78375C42-4331-454B-85D8-D4614B754EA1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994394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269AE76-B943-4832-9B9D-D59972E04E6B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5593865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79" y="6356352"/>
            <a:ext cx="2845171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6143" y="6356352"/>
            <a:ext cx="3859716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FDB8B5-8282-4E6E-8642-2481E241F14F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534691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188640"/>
            <a:ext cx="9614859" cy="634082"/>
          </a:xfrm>
          <a:prstGeom prst="rect">
            <a:avLst/>
          </a:prstGeom>
        </p:spPr>
        <p:txBody>
          <a:bodyPr anchor="ctr" anchorCtr="0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052741"/>
            <a:ext cx="10972800" cy="4525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557287" indent="-214341"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05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3D86484-A6D7-4E37-9A4D-393EFAA6FF38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5698984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1268415"/>
            <a:ext cx="12192000" cy="30241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0" y="1268415"/>
            <a:ext cx="12192000" cy="30241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00" b="1" dirty="0">
              <a:solidFill>
                <a:schemeClr val="tx1"/>
              </a:solidFill>
              <a:ea typeface="Calibri" pitchFamily="34" charset="0"/>
              <a:cs typeface="Calibri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44483" y="1484315"/>
            <a:ext cx="11903036" cy="2592387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ru-RU" sz="2700" b="1" dirty="0">
              <a:solidFill>
                <a:schemeClr val="bg1"/>
              </a:solidFill>
            </a:endParaRPr>
          </a:p>
        </p:txBody>
      </p:sp>
      <p:pic>
        <p:nvPicPr>
          <p:cNvPr id="1029" name="Picture 3" descr="G:\НЛМК\Проектная работа\logo-NLMK-rus.gi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5345" y="244475"/>
            <a:ext cx="2073545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-7939" y="6021388"/>
            <a:ext cx="12199939" cy="836612"/>
          </a:xfrm>
          <a:prstGeom prst="rect">
            <a:avLst/>
          </a:prstGeom>
          <a:solidFill>
            <a:schemeClr val="accent1">
              <a:lumMod val="60000"/>
              <a:lumOff val="40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92" r:id="rId1"/>
    <p:sldLayoutId id="2147484693" r:id="rId2"/>
    <p:sldLayoutId id="2147484694" r:id="rId3"/>
    <p:sldLayoutId id="2147484695" r:id="rId4"/>
    <p:sldLayoutId id="2147484696" r:id="rId5"/>
    <p:sldLayoutId id="2147484697" r:id="rId6"/>
    <p:sldLayoutId id="2147484698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46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91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83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783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209" indent="-25720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7FC18A1D-CC6C-4CF2-ADDE-D88D0FF1CB91}" type="slidenum">
              <a:rPr lang="ru-RU" altLang="en-US"/>
              <a:pPr/>
              <a:t>‹#›</a:t>
            </a:fld>
            <a:endParaRPr lang="ru-RU" altLang="en-US"/>
          </a:p>
        </p:txBody>
      </p:sp>
      <p:sp>
        <p:nvSpPr>
          <p:cNvPr id="7" name="Прямоугольник 6"/>
          <p:cNvSpPr/>
          <p:nvPr/>
        </p:nvSpPr>
        <p:spPr>
          <a:xfrm>
            <a:off x="144483" y="119063"/>
            <a:ext cx="11903036" cy="7889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2052" name="Picture 4" descr="G:\НЛМК\Проектная работа\logo-NLMK-rus-white.gif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245" y="169863"/>
            <a:ext cx="1727425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99" r:id="rId1"/>
    <p:sldLayoutId id="2147484685" r:id="rId2"/>
    <p:sldLayoutId id="2147484700" r:id="rId3"/>
    <p:sldLayoutId id="2147484701" r:id="rId4"/>
    <p:sldLayoutId id="2147484702" r:id="rId5"/>
    <p:sldLayoutId id="2147484703" r:id="rId6"/>
    <p:sldLayoutId id="2147484704" r:id="rId7"/>
    <p:sldLayoutId id="2147484705" r:id="rId8"/>
    <p:sldLayoutId id="2147484706" r:id="rId9"/>
    <p:sldLayoutId id="2147484707" r:id="rId10"/>
    <p:sldLayoutId id="2147484708" r:id="rId11"/>
    <p:sldLayoutId id="2147484686" r:id="rId12"/>
    <p:sldLayoutId id="2147484687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46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91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83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783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209" indent="-25720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49AB7E24-706D-4E1E-994B-DC28442A9D66}" type="slidenum">
              <a:rPr lang="ru-RU" altLang="en-US"/>
              <a:pPr/>
              <a:t>‹#›</a:t>
            </a:fld>
            <a:endParaRPr lang="ru-RU" altLang="en-US"/>
          </a:p>
        </p:txBody>
      </p:sp>
      <p:sp>
        <p:nvSpPr>
          <p:cNvPr id="7" name="Прямоугольник 6"/>
          <p:cNvSpPr/>
          <p:nvPr/>
        </p:nvSpPr>
        <p:spPr>
          <a:xfrm>
            <a:off x="144483" y="119063"/>
            <a:ext cx="11903036" cy="7889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prstClr val="white"/>
              </a:solidFill>
            </a:endParaRPr>
          </a:p>
        </p:txBody>
      </p:sp>
      <p:pic>
        <p:nvPicPr>
          <p:cNvPr id="3076" name="Picture 4" descr="G:\НЛМК\Проектная работа\logo-NLMK-rus-white.gif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245" y="169863"/>
            <a:ext cx="1727425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688" r:id="rId2"/>
    <p:sldLayoutId id="2147484710" r:id="rId3"/>
    <p:sldLayoutId id="2147484711" r:id="rId4"/>
    <p:sldLayoutId id="2147484712" r:id="rId5"/>
    <p:sldLayoutId id="2147484713" r:id="rId6"/>
    <p:sldLayoutId id="2147484714" r:id="rId7"/>
    <p:sldLayoutId id="2147484715" r:id="rId8"/>
    <p:sldLayoutId id="2147484716" r:id="rId9"/>
    <p:sldLayoutId id="2147484717" r:id="rId10"/>
    <p:sldLayoutId id="2147484718" r:id="rId11"/>
    <p:sldLayoutId id="2147484689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46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91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83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783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209" indent="-25720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151" y="6356352"/>
            <a:ext cx="284517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33E339D3-E980-4378-A99B-A989C53CCC64}" type="slidenum">
              <a:rPr lang="ru-RU" altLang="en-US"/>
              <a:pPr/>
              <a:t>‹#›</a:t>
            </a:fld>
            <a:endParaRPr lang="ru-RU" altLang="en-US"/>
          </a:p>
        </p:txBody>
      </p:sp>
      <p:sp>
        <p:nvSpPr>
          <p:cNvPr id="7" name="Прямоугольник 6"/>
          <p:cNvSpPr/>
          <p:nvPr/>
        </p:nvSpPr>
        <p:spPr>
          <a:xfrm>
            <a:off x="144483" y="119063"/>
            <a:ext cx="11903036" cy="7889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prstClr val="white"/>
              </a:solidFill>
            </a:endParaRPr>
          </a:p>
        </p:txBody>
      </p:sp>
      <p:pic>
        <p:nvPicPr>
          <p:cNvPr id="4100" name="Picture 4" descr="G:\НЛМК\Проектная работа\logo-NLMK-rus-white.gif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245" y="169863"/>
            <a:ext cx="1727425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19" r:id="rId1"/>
    <p:sldLayoutId id="2147484690" r:id="rId2"/>
    <p:sldLayoutId id="2147484720" r:id="rId3"/>
    <p:sldLayoutId id="2147484721" r:id="rId4"/>
    <p:sldLayoutId id="2147484722" r:id="rId5"/>
    <p:sldLayoutId id="2147484723" r:id="rId6"/>
    <p:sldLayoutId id="2147484724" r:id="rId7"/>
    <p:sldLayoutId id="2147484725" r:id="rId8"/>
    <p:sldLayoutId id="2147484726" r:id="rId9"/>
    <p:sldLayoutId id="2147484727" r:id="rId10"/>
    <p:sldLayoutId id="2147484728" r:id="rId11"/>
    <p:sldLayoutId id="2147484691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46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91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83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783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209" indent="-25720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 bwMode="auto">
          <a:xfrm>
            <a:off x="911345" y="274638"/>
            <a:ext cx="10670977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6147" name="Текст 2"/>
          <p:cNvSpPr>
            <a:spLocks noGrp="1"/>
          </p:cNvSpPr>
          <p:nvPr>
            <p:ph type="body" idx="1"/>
          </p:nvPr>
        </p:nvSpPr>
        <p:spPr bwMode="auto">
          <a:xfrm>
            <a:off x="911345" y="1600202"/>
            <a:ext cx="10670977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2"/>
          </p:nvPr>
        </p:nvSpPr>
        <p:spPr>
          <a:xfrm>
            <a:off x="4944119" y="6303965"/>
            <a:ext cx="5831647" cy="365125"/>
          </a:xfrm>
          <a:prstGeom prst="rect">
            <a:avLst/>
          </a:prstGeom>
          <a:noFill/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5BABCFD7-B93A-4670-82D5-53043EDDEE03}" type="datetime1">
              <a:rPr lang="ru-RU"/>
              <a:pPr>
                <a:defRPr/>
              </a:pPr>
              <a:t>24.03.2022</a:t>
            </a:fld>
            <a:endParaRPr lang="ru-RU" dirty="0"/>
          </a:p>
        </p:txBody>
      </p:sp>
      <p:sp>
        <p:nvSpPr>
          <p:cNvPr id="7" name="Номер слайда 2"/>
          <p:cNvSpPr txBox="1">
            <a:spLocks/>
          </p:cNvSpPr>
          <p:nvPr userDrawn="1"/>
        </p:nvSpPr>
        <p:spPr>
          <a:xfrm>
            <a:off x="623970" y="6303965"/>
            <a:ext cx="10151796" cy="365125"/>
          </a:xfrm>
          <a:prstGeom prst="rect">
            <a:avLst/>
          </a:prstGeom>
          <a:solidFill>
            <a:srgbClr val="2C5697"/>
          </a:solidFill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227DA0E9-563C-4B46-8654-459A83ADA64F}" type="slidenum">
              <a:rPr lang="ru-RU" altLang="en-US" sz="1050">
                <a:solidFill>
                  <a:srgbClr val="FFFFFF"/>
                </a:solidFill>
                <a:latin typeface="Calibri" panose="020F0502020204030204" pitchFamily="34" charset="0"/>
              </a:rPr>
              <a:pPr eaLnBrk="1" hangingPunct="1"/>
              <a:t>‹#›</a:t>
            </a:fld>
            <a:endParaRPr lang="ru-RU" altLang="en-US" sz="105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1" hangingPunct="1"/>
            <a:endParaRPr lang="ru-RU" altLang="en-US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150" name="Рисунок 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0247" y="6165850"/>
            <a:ext cx="908168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40" r:id="rId1"/>
    <p:sldLayoutId id="2147484741" r:id="rId2"/>
    <p:sldLayoutId id="2147484742" r:id="rId3"/>
    <p:sldLayoutId id="2147484743" r:id="rId4"/>
    <p:sldLayoutId id="2147484744" r:id="rId5"/>
    <p:sldLayoutId id="2147484745" r:id="rId6"/>
    <p:sldLayoutId id="2147484746" r:id="rId7"/>
    <p:sldLayoutId id="2147484747" r:id="rId8"/>
    <p:sldLayoutId id="2147484748" r:id="rId9"/>
    <p:sldLayoutId id="2147484749" r:id="rId10"/>
    <p:sldLayoutId id="2147484750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46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91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837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783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209" indent="-25720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87" indent="-21434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64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310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56" indent="-17147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6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6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9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23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kontur.ru/edi" TargetMode="External"/><Relationship Id="rId7" Type="http://schemas.openxmlformats.org/officeDocument/2006/relationships/image" Target="cid:image001.png@01D584F6.5911D5E0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4.png"/><Relationship Id="rId5" Type="http://schemas.openxmlformats.org/officeDocument/2006/relationships/hyperlink" Target="mailto:srm@nlmk.com" TargetMode="External"/><Relationship Id="rId4" Type="http://schemas.openxmlformats.org/officeDocument/2006/relationships/hyperlink" Target="mailto:erohin_di@cscentr.com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tensor.ru/" TargetMode="External"/><Relationship Id="rId13" Type="http://schemas.openxmlformats.org/officeDocument/2006/relationships/image" Target="cid:image001.png@01D584F6.5911D5E0" TargetMode="External"/><Relationship Id="rId3" Type="http://schemas.openxmlformats.org/officeDocument/2006/relationships/image" Target="../media/image25.png"/><Relationship Id="rId7" Type="http://schemas.openxmlformats.org/officeDocument/2006/relationships/hyperlink" Target="https://www.diadoc.ru/" TargetMode="External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Relationship Id="rId6" Type="http://schemas.openxmlformats.org/officeDocument/2006/relationships/hyperlink" Target="http://taxcom.ru/" TargetMode="External"/><Relationship Id="rId11" Type="http://schemas.openxmlformats.org/officeDocument/2006/relationships/hyperlink" Target="mailto:gerasimova_vy@cscentr.com" TargetMode="External"/><Relationship Id="rId5" Type="http://schemas.openxmlformats.org/officeDocument/2006/relationships/image" Target="../media/image27.png"/><Relationship Id="rId15" Type="http://schemas.openxmlformats.org/officeDocument/2006/relationships/hyperlink" Target="mailto:kosteneva_nn@nlmk.com" TargetMode="External"/><Relationship Id="rId10" Type="http://schemas.openxmlformats.org/officeDocument/2006/relationships/image" Target="../media/image28.png"/><Relationship Id="rId4" Type="http://schemas.openxmlformats.org/officeDocument/2006/relationships/image" Target="../media/image26.png"/><Relationship Id="rId9" Type="http://schemas.openxmlformats.org/officeDocument/2006/relationships/hyperlink" Target="https://www.esphere.ru/" TargetMode="External"/><Relationship Id="rId14" Type="http://schemas.openxmlformats.org/officeDocument/2006/relationships/hyperlink" Target="mailto:belskaya_ea@nlmk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Слайд think-cell" r:id="rId4" imgW="444" imgH="446" progId="TCLayout.ActiveDocument.1">
                  <p:embed/>
                </p:oleObj>
              </mc:Choice>
              <mc:Fallback>
                <p:oleObj name="Слайд think-cell" r:id="rId4" imgW="444" imgH="44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2" name="Номер слайда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81950" y="6356351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12C6940-C747-47C2-91A6-D98D5856C9BA}" type="slidenum">
              <a:rPr lang="en-US" altLang="ru-RU" smtClean="0"/>
              <a:pPr/>
              <a:t>1</a:t>
            </a:fld>
            <a:endParaRPr lang="en-US" altLang="ru-RU" dirty="0"/>
          </a:p>
        </p:txBody>
      </p:sp>
      <p:sp>
        <p:nvSpPr>
          <p:cNvPr id="5" name="Rectangle 2"/>
          <p:cNvSpPr/>
          <p:nvPr/>
        </p:nvSpPr>
        <p:spPr bwMode="auto">
          <a:xfrm>
            <a:off x="3903217" y="0"/>
            <a:ext cx="8288783" cy="6858000"/>
          </a:xfrm>
          <a:prstGeom prst="rect">
            <a:avLst/>
          </a:prstGeom>
          <a:solidFill>
            <a:srgbClr val="005290"/>
          </a:solidFill>
          <a:ln w="25400" cap="flat" cmpd="sng" algn="ctr">
            <a:noFill/>
            <a:prstDash val="solid"/>
          </a:ln>
          <a:effectLst/>
        </p:spPr>
        <p:txBody>
          <a:bodyPr anchor="b"/>
          <a:lstStyle/>
          <a:p>
            <a:pPr algn="ctr" defTabSz="685800">
              <a:defRPr/>
            </a:pPr>
            <a:endParaRPr lang="en-US" sz="1350" kern="0" dirty="0">
              <a:solidFill>
                <a:schemeClr val="bg1"/>
              </a:solidFill>
              <a:latin typeface="Calibri"/>
            </a:endParaRPr>
          </a:p>
        </p:txBody>
      </p:sp>
      <p:pic>
        <p:nvPicPr>
          <p:cNvPr id="32777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1444" y="146203"/>
            <a:ext cx="1354137" cy="957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8" name="Title 1"/>
          <p:cNvSpPr txBox="1">
            <a:spLocks/>
          </p:cNvSpPr>
          <p:nvPr/>
        </p:nvSpPr>
        <p:spPr bwMode="auto">
          <a:xfrm>
            <a:off x="5387864" y="2420888"/>
            <a:ext cx="5214476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ru-RU" altLang="ru-RU" sz="4000" b="1" dirty="0" smtClean="0">
                <a:solidFill>
                  <a:schemeClr val="bg1"/>
                </a:solidFill>
                <a:latin typeface="Source Sans Pro"/>
              </a:rPr>
              <a:t>Электронный обмен данными с поставщиками</a:t>
            </a:r>
            <a:endParaRPr lang="ru-RU" altLang="ru-RU" sz="4000" b="1" dirty="0">
              <a:solidFill>
                <a:schemeClr val="bg1"/>
              </a:solidFill>
              <a:latin typeface="Source Sans Pro"/>
            </a:endParaRPr>
          </a:p>
        </p:txBody>
      </p:sp>
      <p:pic>
        <p:nvPicPr>
          <p:cNvPr id="14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55"/>
          <a:stretch>
            <a:fillRect/>
          </a:stretch>
        </p:blipFill>
        <p:spPr bwMode="auto">
          <a:xfrm>
            <a:off x="-21083" y="0"/>
            <a:ext cx="39243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1990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1344" y="188198"/>
            <a:ext cx="11449272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Определение и назначение сервисов </a:t>
            </a:r>
            <a:r>
              <a:rPr lang="en-US" b="1" dirty="0">
                <a:solidFill>
                  <a:srgbClr val="2C5697"/>
                </a:solidFill>
              </a:rPr>
              <a:t>EDI </a:t>
            </a:r>
            <a:r>
              <a:rPr lang="ru-RU" b="1" dirty="0">
                <a:solidFill>
                  <a:srgbClr val="2C5697"/>
                </a:solidFill>
              </a:rPr>
              <a:t>и ЭДО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6604077"/>
              </p:ext>
            </p:extLst>
          </p:nvPr>
        </p:nvGraphicFramePr>
        <p:xfrm>
          <a:off x="623392" y="761801"/>
          <a:ext cx="10153129" cy="5516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2406">
                  <a:extLst>
                    <a:ext uri="{9D8B030D-6E8A-4147-A177-3AD203B41FA5}">
                      <a16:colId xmlns:a16="http://schemas.microsoft.com/office/drawing/2014/main" val="3303357687"/>
                    </a:ext>
                  </a:extLst>
                </a:gridCol>
                <a:gridCol w="4170035">
                  <a:extLst>
                    <a:ext uri="{9D8B030D-6E8A-4147-A177-3AD203B41FA5}">
                      <a16:colId xmlns:a16="http://schemas.microsoft.com/office/drawing/2014/main" val="164573272"/>
                    </a:ext>
                  </a:extLst>
                </a:gridCol>
                <a:gridCol w="4260688">
                  <a:extLst>
                    <a:ext uri="{9D8B030D-6E8A-4147-A177-3AD203B41FA5}">
                      <a16:colId xmlns:a16="http://schemas.microsoft.com/office/drawing/2014/main" val="559505959"/>
                    </a:ext>
                  </a:extLst>
                </a:gridCol>
              </a:tblGrid>
              <a:tr h="578767">
                <a:tc>
                  <a:txBody>
                    <a:bodyPr/>
                    <a:lstStyle/>
                    <a:p>
                      <a:pPr algn="ctr"/>
                      <a:endParaRPr lang="ru-RU" sz="15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EDI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ЭДО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0682120"/>
                  </a:ext>
                </a:extLst>
              </a:tr>
              <a:tr h="1224337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Определение</a:t>
                      </a:r>
                      <a:endParaRPr lang="ru-RU" sz="1500" b="1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ectronic Data Interchange (электронный обмен данными) – это технология автоматического электронного обмена логистической, коммерческой и финансовой информацией между учетными системами торговых партнеров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лектронный документооборот — это обмен документами, которые обладают юридической силой и приравниваются к оригиналам согласно законодательству РФ. ЭДО происходит через систему оператора, включенного в сеть доверия ФНС РФ.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0291363"/>
                  </a:ext>
                </a:extLst>
              </a:tr>
              <a:tr h="517844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Назначение</a:t>
                      </a:r>
                      <a:endParaRPr lang="ru-RU" sz="1500" b="1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втоматический обмен данными между учетными системами торговых партнеров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втоматическое создание, изменение торговых документов (заказы, поставки, инвойсы) в учетных системах клиента и поставщика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еспечение перехода от бумажных юридически значимых документов (счет-фактура, ТОРГ-12, УПД) к электронным юридически значимым документам, т.е. файлам, усиленным электронно-цифровой подписью.	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909194"/>
                  </a:ext>
                </a:extLst>
              </a:tr>
              <a:tr h="1157533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Юридическая значимость</a:t>
                      </a:r>
                      <a:endParaRPr lang="ru-RU" sz="1500" b="1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ехнология не имеет юридической значимости и не использует усиленную цифровую подпись. Юридическая значимость документов может быть обеспечена за счет подписания партнерами Соглашения об электронном взаимодействии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500" baseline="0" dirty="0" smtClean="0"/>
                        <a:t>Д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1500189"/>
                  </a:ext>
                </a:extLst>
              </a:tr>
              <a:tr h="517844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Нужны ли оба сервиса?</a:t>
                      </a:r>
                      <a:endParaRPr lang="ru-RU" sz="1500" b="1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5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а сервиса имеют разное назначение и выполняют разные функции, дополняя друг друга, но не заменяя	</a:t>
                      </a:r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67851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7050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3352" y="202432"/>
            <a:ext cx="9144000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Схема обмена данными между НЛМК и поставщиками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95400" y="620688"/>
            <a:ext cx="10009112" cy="5616624"/>
            <a:chOff x="539552" y="476672"/>
            <a:chExt cx="7567953" cy="5760640"/>
          </a:xfrm>
        </p:grpSpPr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05413" y="5508937"/>
              <a:ext cx="443341" cy="470831"/>
            </a:xfrm>
            <a:prstGeom prst="rect">
              <a:avLst/>
            </a:prstGeom>
          </p:spPr>
        </p:pic>
        <p:grpSp>
          <p:nvGrpSpPr>
            <p:cNvPr id="5" name="Группа 4"/>
            <p:cNvGrpSpPr/>
            <p:nvPr/>
          </p:nvGrpSpPr>
          <p:grpSpPr>
            <a:xfrm>
              <a:off x="1022241" y="476672"/>
              <a:ext cx="7085264" cy="5760640"/>
              <a:chOff x="788083" y="994739"/>
              <a:chExt cx="7085264" cy="5760640"/>
            </a:xfrm>
          </p:grpSpPr>
          <p:grpSp>
            <p:nvGrpSpPr>
              <p:cNvPr id="7" name="Группа 6"/>
              <p:cNvGrpSpPr/>
              <p:nvPr/>
            </p:nvGrpSpPr>
            <p:grpSpPr>
              <a:xfrm>
                <a:off x="788083" y="994739"/>
                <a:ext cx="7085264" cy="5760640"/>
                <a:chOff x="788083" y="634699"/>
                <a:chExt cx="7085264" cy="5760640"/>
              </a:xfrm>
            </p:grpSpPr>
            <p:sp>
              <p:nvSpPr>
                <p:cNvPr id="21" name="Скругленный прямоугольник 20"/>
                <p:cNvSpPr/>
                <p:nvPr/>
              </p:nvSpPr>
              <p:spPr>
                <a:xfrm>
                  <a:off x="971600" y="1431607"/>
                  <a:ext cx="1656184" cy="4963732"/>
                </a:xfrm>
                <a:prstGeom prst="roundRect">
                  <a:avLst/>
                </a:prstGeom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400"/>
                </a:p>
              </p:txBody>
            </p:sp>
            <p:sp>
              <p:nvSpPr>
                <p:cNvPr id="22" name="Скругленный прямоугольник 21"/>
                <p:cNvSpPr/>
                <p:nvPr/>
              </p:nvSpPr>
              <p:spPr>
                <a:xfrm>
                  <a:off x="6085950" y="1431606"/>
                  <a:ext cx="1656184" cy="4963732"/>
                </a:xfrm>
                <a:prstGeom prst="roundRect">
                  <a:avLst/>
                </a:prstGeom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400"/>
                </a:p>
              </p:txBody>
            </p:sp>
            <p:pic>
              <p:nvPicPr>
                <p:cNvPr id="23" name="Рисунок 22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410745" y="634699"/>
                  <a:ext cx="800249" cy="562053"/>
                </a:xfrm>
                <a:prstGeom prst="rect">
                  <a:avLst/>
                </a:prstGeom>
              </p:spPr>
            </p:pic>
            <p:sp>
              <p:nvSpPr>
                <p:cNvPr id="24" name="Прямоугольник 23"/>
                <p:cNvSpPr/>
                <p:nvPr/>
              </p:nvSpPr>
              <p:spPr>
                <a:xfrm>
                  <a:off x="1369737" y="1154671"/>
                  <a:ext cx="1440159" cy="3156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just"/>
                  <a:r>
                    <a:rPr lang="ru-RU" sz="1400" b="1" dirty="0">
                      <a:latin typeface="+mn-lt"/>
                      <a:cs typeface="Times New Roman" pitchFamily="18" charset="0"/>
                    </a:rPr>
                    <a:t>Группа НЛМК</a:t>
                  </a:r>
                </a:p>
              </p:txBody>
            </p:sp>
            <p:pic>
              <p:nvPicPr>
                <p:cNvPr id="25" name="Рисунок 24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3724112" y="681224"/>
                  <a:ext cx="933580" cy="495369"/>
                </a:xfrm>
                <a:prstGeom prst="rect">
                  <a:avLst/>
                </a:prstGeom>
              </p:spPr>
            </p:pic>
            <p:sp>
              <p:nvSpPr>
                <p:cNvPr id="26" name="Прямоугольник 25"/>
                <p:cNvSpPr/>
                <p:nvPr/>
              </p:nvSpPr>
              <p:spPr>
                <a:xfrm>
                  <a:off x="3696581" y="1140367"/>
                  <a:ext cx="1563372" cy="3156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just"/>
                  <a:r>
                    <a:rPr lang="en-US" sz="1400" b="1" dirty="0">
                      <a:latin typeface="+mn-lt"/>
                      <a:cs typeface="Times New Roman" pitchFamily="18" charset="0"/>
                    </a:rPr>
                    <a:t>EDI-</a:t>
                  </a:r>
                  <a:r>
                    <a:rPr lang="ru-RU" sz="1400" b="1" dirty="0">
                      <a:latin typeface="+mn-lt"/>
                      <a:cs typeface="Times New Roman" pitchFamily="18" charset="0"/>
                    </a:rPr>
                    <a:t>провайдер</a:t>
                  </a:r>
                </a:p>
              </p:txBody>
            </p:sp>
            <p:pic>
              <p:nvPicPr>
                <p:cNvPr id="27" name="Рисунок 26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509456" y="702708"/>
                  <a:ext cx="819434" cy="495369"/>
                </a:xfrm>
                <a:prstGeom prst="rect">
                  <a:avLst/>
                </a:prstGeom>
              </p:spPr>
            </p:pic>
            <p:sp>
              <p:nvSpPr>
                <p:cNvPr id="28" name="Прямоугольник 27"/>
                <p:cNvSpPr/>
                <p:nvPr/>
              </p:nvSpPr>
              <p:spPr>
                <a:xfrm>
                  <a:off x="6487135" y="1131428"/>
                  <a:ext cx="1222874" cy="3156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just"/>
                  <a:r>
                    <a:rPr lang="ru-RU" sz="1400" b="1" dirty="0">
                      <a:latin typeface="+mn-lt"/>
                      <a:cs typeface="Times New Roman" pitchFamily="18" charset="0"/>
                    </a:rPr>
                    <a:t>Поставщик</a:t>
                  </a:r>
                </a:p>
              </p:txBody>
            </p:sp>
            <p:sp>
              <p:nvSpPr>
                <p:cNvPr id="29" name="Прямоугольник 28"/>
                <p:cNvSpPr/>
                <p:nvPr/>
              </p:nvSpPr>
              <p:spPr>
                <a:xfrm>
                  <a:off x="863588" y="1436441"/>
                  <a:ext cx="1872208" cy="536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Создание заказ </a:t>
                  </a:r>
                </a:p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на поставку</a:t>
                  </a:r>
                </a:p>
              </p:txBody>
            </p:sp>
            <p:sp>
              <p:nvSpPr>
                <p:cNvPr id="30" name="Прямоугольник 29"/>
                <p:cNvSpPr/>
                <p:nvPr/>
              </p:nvSpPr>
              <p:spPr>
                <a:xfrm>
                  <a:off x="6152467" y="1944422"/>
                  <a:ext cx="1639206" cy="536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Создание сбытового заказа</a:t>
                  </a:r>
                </a:p>
              </p:txBody>
            </p:sp>
            <p:cxnSp>
              <p:nvCxnSpPr>
                <p:cNvPr id="31" name="Прямая со стрелкой 30"/>
                <p:cNvCxnSpPr/>
                <p:nvPr/>
              </p:nvCxnSpPr>
              <p:spPr>
                <a:xfrm>
                  <a:off x="2627784" y="1700808"/>
                  <a:ext cx="3424084" cy="0"/>
                </a:xfrm>
                <a:prstGeom prst="straightConnector1">
                  <a:avLst/>
                </a:prstGeom>
                <a:ln w="12700"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Прямоугольник 31"/>
                <p:cNvSpPr/>
                <p:nvPr/>
              </p:nvSpPr>
              <p:spPr>
                <a:xfrm>
                  <a:off x="3275856" y="1447097"/>
                  <a:ext cx="1872208" cy="3156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b="1" dirty="0">
                      <a:latin typeface="+mn-lt"/>
                      <a:cs typeface="Times New Roman" pitchFamily="18" charset="0"/>
                    </a:rPr>
                    <a:t>Заказ на поставку</a:t>
                  </a:r>
                </a:p>
              </p:txBody>
            </p:sp>
            <p:cxnSp>
              <p:nvCxnSpPr>
                <p:cNvPr id="33" name="Прямая со стрелкой 32"/>
                <p:cNvCxnSpPr/>
                <p:nvPr/>
              </p:nvCxnSpPr>
              <p:spPr>
                <a:xfrm>
                  <a:off x="2627784" y="2204864"/>
                  <a:ext cx="3424084" cy="0"/>
                </a:xfrm>
                <a:prstGeom prst="straightConnector1">
                  <a:avLst/>
                </a:prstGeom>
                <a:ln w="12700">
                  <a:prstDash val="dash"/>
                  <a:headEnd type="triangl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Дуга 33"/>
                <p:cNvSpPr/>
                <p:nvPr/>
              </p:nvSpPr>
              <p:spPr>
                <a:xfrm>
                  <a:off x="5855068" y="1700808"/>
                  <a:ext cx="321790" cy="504056"/>
                </a:xfrm>
                <a:prstGeom prst="arc">
                  <a:avLst>
                    <a:gd name="adj1" fmla="val 16199992"/>
                    <a:gd name="adj2" fmla="val 5400829"/>
                  </a:avLst>
                </a:prstGeom>
                <a:ln w="12700"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ru-RU" sz="1400"/>
                </a:p>
              </p:txBody>
            </p:sp>
            <p:sp>
              <p:nvSpPr>
                <p:cNvPr id="35" name="Прямоугольник 34"/>
                <p:cNvSpPr/>
                <p:nvPr/>
              </p:nvSpPr>
              <p:spPr>
                <a:xfrm>
                  <a:off x="2661866" y="1969106"/>
                  <a:ext cx="3221376" cy="3156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b="1" dirty="0">
                      <a:latin typeface="+mn-lt"/>
                      <a:cs typeface="Times New Roman" pitchFamily="18" charset="0"/>
                    </a:rPr>
                    <a:t>Ответ на Заказ на поставку</a:t>
                  </a:r>
                </a:p>
              </p:txBody>
            </p:sp>
            <p:sp>
              <p:nvSpPr>
                <p:cNvPr id="36" name="Прямоугольник 35"/>
                <p:cNvSpPr/>
                <p:nvPr/>
              </p:nvSpPr>
              <p:spPr>
                <a:xfrm>
                  <a:off x="6001138" y="4086198"/>
                  <a:ext cx="1872209" cy="536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Отправка </a:t>
                  </a:r>
                </a:p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документов и товара</a:t>
                  </a:r>
                </a:p>
              </p:txBody>
            </p:sp>
            <p:sp>
              <p:nvSpPr>
                <p:cNvPr id="37" name="Прямоугольник 36"/>
                <p:cNvSpPr/>
                <p:nvPr/>
              </p:nvSpPr>
              <p:spPr>
                <a:xfrm>
                  <a:off x="863588" y="4086198"/>
                  <a:ext cx="1872208" cy="536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Въезд транспорта на склад</a:t>
                  </a:r>
                </a:p>
              </p:txBody>
            </p:sp>
            <p:cxnSp>
              <p:nvCxnSpPr>
                <p:cNvPr id="38" name="Прямая со стрелкой 37"/>
                <p:cNvCxnSpPr/>
                <p:nvPr/>
              </p:nvCxnSpPr>
              <p:spPr>
                <a:xfrm>
                  <a:off x="2627784" y="3356992"/>
                  <a:ext cx="3424084" cy="0"/>
                </a:xfrm>
                <a:prstGeom prst="straightConnector1">
                  <a:avLst/>
                </a:prstGeom>
                <a:ln w="12700">
                  <a:prstDash val="dash"/>
                  <a:headEnd type="triangl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Прямоугольник 38"/>
                <p:cNvSpPr/>
                <p:nvPr/>
              </p:nvSpPr>
              <p:spPr>
                <a:xfrm>
                  <a:off x="3021052" y="3125496"/>
                  <a:ext cx="2547837" cy="3156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b="1" dirty="0">
                      <a:latin typeface="+mn-lt"/>
                      <a:cs typeface="Times New Roman" pitchFamily="18" charset="0"/>
                    </a:rPr>
                    <a:t>Уведомление об отправке</a:t>
                  </a:r>
                </a:p>
              </p:txBody>
            </p:sp>
            <p:cxnSp>
              <p:nvCxnSpPr>
                <p:cNvPr id="40" name="Прямая со стрелкой 39"/>
                <p:cNvCxnSpPr/>
                <p:nvPr/>
              </p:nvCxnSpPr>
              <p:spPr>
                <a:xfrm>
                  <a:off x="2627784" y="4363943"/>
                  <a:ext cx="3424084" cy="0"/>
                </a:xfrm>
                <a:prstGeom prst="straightConnector1">
                  <a:avLst/>
                </a:prstGeom>
                <a:ln w="12700">
                  <a:prstDash val="solid"/>
                  <a:headEnd type="triangl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1" name="Прямоугольник 40"/>
                <p:cNvSpPr/>
                <p:nvPr/>
              </p:nvSpPr>
              <p:spPr>
                <a:xfrm>
                  <a:off x="2809896" y="4129386"/>
                  <a:ext cx="2943316" cy="536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Товар с бумажными </a:t>
                  </a:r>
                </a:p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сопроводительными документами</a:t>
                  </a:r>
                </a:p>
              </p:txBody>
            </p:sp>
            <p:cxnSp>
              <p:nvCxnSpPr>
                <p:cNvPr id="42" name="Прямая со стрелкой 41"/>
                <p:cNvCxnSpPr/>
                <p:nvPr/>
              </p:nvCxnSpPr>
              <p:spPr>
                <a:xfrm>
                  <a:off x="2627784" y="4963961"/>
                  <a:ext cx="3424084" cy="0"/>
                </a:xfrm>
                <a:prstGeom prst="straightConnector1">
                  <a:avLst/>
                </a:prstGeom>
                <a:ln w="12700"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Прямоугольник 42"/>
                <p:cNvSpPr/>
                <p:nvPr/>
              </p:nvSpPr>
              <p:spPr>
                <a:xfrm>
                  <a:off x="2969308" y="4696689"/>
                  <a:ext cx="2547837" cy="3156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b="1" dirty="0">
                      <a:latin typeface="+mn-lt"/>
                      <a:cs typeface="Times New Roman" pitchFamily="18" charset="0"/>
                    </a:rPr>
                    <a:t>Уведомление о приемке</a:t>
                  </a:r>
                </a:p>
              </p:txBody>
            </p:sp>
            <p:sp>
              <p:nvSpPr>
                <p:cNvPr id="44" name="Прямоугольник 43"/>
                <p:cNvSpPr/>
                <p:nvPr/>
              </p:nvSpPr>
              <p:spPr>
                <a:xfrm>
                  <a:off x="788083" y="4677033"/>
                  <a:ext cx="1938647" cy="536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sz="1400" dirty="0">
                      <a:latin typeface="+mn-lt"/>
                      <a:cs typeface="Times New Roman" pitchFamily="18" charset="0"/>
                    </a:rPr>
                    <a:t>Проводка поступления </a:t>
                  </a:r>
                  <a:endParaRPr lang="ru-RU" sz="1400" dirty="0" smtClean="0">
                    <a:latin typeface="+mn-lt"/>
                    <a:cs typeface="Times New Roman" pitchFamily="18" charset="0"/>
                  </a:endParaRPr>
                </a:p>
                <a:p>
                  <a:pPr algn="ctr"/>
                  <a:r>
                    <a:rPr lang="ru-RU" sz="1400" dirty="0" smtClean="0">
                      <a:latin typeface="+mn-lt"/>
                      <a:cs typeface="Times New Roman" pitchFamily="18" charset="0"/>
                    </a:rPr>
                    <a:t>товара</a:t>
                  </a:r>
                  <a:endParaRPr lang="ru-RU" sz="1400" dirty="0">
                    <a:latin typeface="+mn-lt"/>
                    <a:cs typeface="Times New Roman" pitchFamily="18" charset="0"/>
                  </a:endParaRPr>
                </a:p>
              </p:txBody>
            </p:sp>
          </p:grpSp>
          <p:cxnSp>
            <p:nvCxnSpPr>
              <p:cNvPr id="8" name="Прямая со стрелкой 7"/>
              <p:cNvCxnSpPr/>
              <p:nvPr/>
            </p:nvCxnSpPr>
            <p:spPr>
              <a:xfrm>
                <a:off x="2627784" y="3068960"/>
                <a:ext cx="3424084" cy="0"/>
              </a:xfrm>
              <a:prstGeom prst="straightConnector1">
                <a:avLst/>
              </a:prstGeom>
              <a:ln w="12700"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Дуга 8"/>
              <p:cNvSpPr/>
              <p:nvPr/>
            </p:nvSpPr>
            <p:spPr>
              <a:xfrm rot="10800000">
                <a:off x="2453776" y="2564622"/>
                <a:ext cx="321790" cy="504056"/>
              </a:xfrm>
              <a:prstGeom prst="arc">
                <a:avLst>
                  <a:gd name="adj1" fmla="val 16199992"/>
                  <a:gd name="adj2" fmla="val 5400829"/>
                </a:avLst>
              </a:prstGeom>
              <a:ln w="1270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10" name="Прямоугольник 9"/>
              <p:cNvSpPr/>
              <p:nvPr/>
            </p:nvSpPr>
            <p:spPr>
              <a:xfrm>
                <a:off x="2699791" y="2834059"/>
                <a:ext cx="2942855" cy="5366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b="1" dirty="0">
                    <a:latin typeface="+mn-lt"/>
                    <a:cs typeface="Times New Roman" pitchFamily="18" charset="0"/>
                  </a:rPr>
                  <a:t>Заказ на поставку</a:t>
                </a:r>
              </a:p>
              <a:p>
                <a:pPr algn="ctr"/>
                <a:r>
                  <a:rPr lang="ru-RU" sz="1400" b="1" dirty="0">
                    <a:latin typeface="+mn-lt"/>
                    <a:cs typeface="Times New Roman" pitchFamily="18" charset="0"/>
                  </a:rPr>
                  <a:t>(согласованный вариант) </a:t>
                </a:r>
              </a:p>
            </p:txBody>
          </p:sp>
          <p:pic>
            <p:nvPicPr>
              <p:cNvPr id="11" name="Рисунок 10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359779" y="2182668"/>
                <a:ext cx="394717" cy="335379"/>
              </a:xfrm>
              <a:prstGeom prst="rect">
                <a:avLst/>
              </a:prstGeom>
            </p:spPr>
          </p:pic>
          <p:pic>
            <p:nvPicPr>
              <p:cNvPr id="12" name="Рисунок 11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363001" y="2715454"/>
                <a:ext cx="394717" cy="336668"/>
              </a:xfrm>
              <a:prstGeom prst="rect">
                <a:avLst/>
              </a:prstGeom>
            </p:spPr>
          </p:pic>
          <p:cxnSp>
            <p:nvCxnSpPr>
              <p:cNvPr id="13" name="Прямая со стрелкой 12"/>
              <p:cNvCxnSpPr>
                <a:endCxn id="19" idx="0"/>
              </p:cNvCxnSpPr>
              <p:nvPr/>
            </p:nvCxnSpPr>
            <p:spPr>
              <a:xfrm flipV="1">
                <a:off x="2617542" y="4222080"/>
                <a:ext cx="3424536" cy="794"/>
              </a:xfrm>
              <a:prstGeom prst="straightConnector1">
                <a:avLst/>
              </a:prstGeom>
              <a:ln w="12700"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Дуга 13"/>
              <p:cNvSpPr/>
              <p:nvPr/>
            </p:nvSpPr>
            <p:spPr>
              <a:xfrm rot="10800000">
                <a:off x="2465635" y="3718817"/>
                <a:ext cx="321790" cy="504056"/>
              </a:xfrm>
              <a:prstGeom prst="arc">
                <a:avLst>
                  <a:gd name="adj1" fmla="val 16199992"/>
                  <a:gd name="adj2" fmla="val 5400829"/>
                </a:avLst>
              </a:prstGeom>
              <a:ln w="12700"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15" name="Прямоугольник 14"/>
              <p:cNvSpPr/>
              <p:nvPr/>
            </p:nvSpPr>
            <p:spPr>
              <a:xfrm>
                <a:off x="3005295" y="3961183"/>
                <a:ext cx="2547837" cy="5366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dirty="0">
                    <a:latin typeface="+mn-lt"/>
                    <a:cs typeface="Times New Roman" pitchFamily="18" charset="0"/>
                  </a:rPr>
                  <a:t>Номер входящей поставки</a:t>
                </a:r>
                <a:endParaRPr lang="en-US" sz="1400" dirty="0">
                  <a:latin typeface="+mn-lt"/>
                  <a:cs typeface="Times New Roman" pitchFamily="18" charset="0"/>
                </a:endParaRPr>
              </a:p>
              <a:p>
                <a:pPr algn="ctr"/>
                <a:r>
                  <a:rPr lang="en-US" sz="1400" dirty="0">
                    <a:latin typeface="+mn-lt"/>
                    <a:cs typeface="Times New Roman" pitchFamily="18" charset="0"/>
                  </a:rPr>
                  <a:t>(</a:t>
                </a:r>
                <a:r>
                  <a:rPr lang="ru-RU" sz="1400" dirty="0">
                    <a:latin typeface="+mn-lt"/>
                    <a:cs typeface="Times New Roman" pitchFamily="18" charset="0"/>
                  </a:rPr>
                  <a:t>разрешение на въезд)</a:t>
                </a:r>
              </a:p>
            </p:txBody>
          </p:sp>
          <p:pic>
            <p:nvPicPr>
              <p:cNvPr id="16" name="Рисунок 15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726730" y="4371166"/>
                <a:ext cx="837091" cy="338709"/>
              </a:xfrm>
              <a:prstGeom prst="rect">
                <a:avLst/>
              </a:prstGeom>
            </p:spPr>
          </p:pic>
          <p:sp>
            <p:nvSpPr>
              <p:cNvPr id="17" name="Прямоугольник 16"/>
              <p:cNvSpPr/>
              <p:nvPr/>
            </p:nvSpPr>
            <p:spPr>
              <a:xfrm>
                <a:off x="816980" y="3505787"/>
                <a:ext cx="1872208" cy="7576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dirty="0">
                    <a:latin typeface="+mn-lt"/>
                    <a:cs typeface="Times New Roman" pitchFamily="18" charset="0"/>
                  </a:rPr>
                  <a:t>Автоматическое </a:t>
                </a:r>
              </a:p>
              <a:p>
                <a:pPr algn="ctr"/>
                <a:r>
                  <a:rPr lang="ru-RU" sz="1400" dirty="0">
                    <a:latin typeface="+mn-lt"/>
                    <a:cs typeface="Times New Roman" pitchFamily="18" charset="0"/>
                  </a:rPr>
                  <a:t>создание входящей </a:t>
                </a:r>
                <a:endParaRPr lang="ru-RU" sz="1400" dirty="0" smtClean="0">
                  <a:latin typeface="+mn-lt"/>
                  <a:cs typeface="Times New Roman" pitchFamily="18" charset="0"/>
                </a:endParaRPr>
              </a:p>
              <a:p>
                <a:pPr algn="ctr"/>
                <a:r>
                  <a:rPr lang="ru-RU" sz="1400" dirty="0" smtClean="0">
                    <a:latin typeface="+mn-lt"/>
                    <a:cs typeface="Times New Roman" pitchFamily="18" charset="0"/>
                  </a:rPr>
                  <a:t>поставки</a:t>
                </a:r>
                <a:endParaRPr lang="ru-RU" sz="1400" dirty="0">
                  <a:latin typeface="+mn-lt"/>
                  <a:cs typeface="Times New Roman" pitchFamily="18" charset="0"/>
                </a:endParaRPr>
              </a:p>
            </p:txBody>
          </p:sp>
          <p:sp>
            <p:nvSpPr>
              <p:cNvPr id="18" name="Прямоугольник 17"/>
              <p:cNvSpPr/>
              <p:nvPr/>
            </p:nvSpPr>
            <p:spPr>
              <a:xfrm>
                <a:off x="6060748" y="3431933"/>
                <a:ext cx="1772752" cy="5366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dirty="0">
                    <a:latin typeface="+mn-lt"/>
                    <a:cs typeface="Times New Roman" pitchFamily="18" charset="0"/>
                  </a:rPr>
                  <a:t>Создание исходящей поставки</a:t>
                </a:r>
              </a:p>
            </p:txBody>
          </p:sp>
          <p:sp>
            <p:nvSpPr>
              <p:cNvPr id="19" name="Дуга 18"/>
              <p:cNvSpPr/>
              <p:nvPr/>
            </p:nvSpPr>
            <p:spPr>
              <a:xfrm>
                <a:off x="5884035" y="4222040"/>
                <a:ext cx="321790" cy="504056"/>
              </a:xfrm>
              <a:prstGeom prst="arc">
                <a:avLst>
                  <a:gd name="adj1" fmla="val 16161092"/>
                  <a:gd name="adj2" fmla="val 5400829"/>
                </a:avLst>
              </a:prstGeom>
              <a:ln w="12700"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pic>
            <p:nvPicPr>
              <p:cNvPr id="20" name="Рисунок 19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61978" y="3871805"/>
                <a:ext cx="257955" cy="328936"/>
              </a:xfrm>
              <a:prstGeom prst="rect">
                <a:avLst/>
              </a:prstGeom>
            </p:spPr>
          </p:pic>
        </p:grpSp>
        <p:sp>
          <p:nvSpPr>
            <p:cNvPr id="46" name="Прямоугольник 45"/>
            <p:cNvSpPr/>
            <p:nvPr/>
          </p:nvSpPr>
          <p:spPr>
            <a:xfrm>
              <a:off x="6235298" y="5366683"/>
              <a:ext cx="1872207" cy="7576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latin typeface="+mn-lt"/>
                  <a:cs typeface="Times New Roman" pitchFamily="18" charset="0"/>
                </a:rPr>
                <a:t>Отправка </a:t>
              </a:r>
            </a:p>
            <a:p>
              <a:pPr algn="ctr"/>
              <a:r>
                <a:rPr lang="ru-RU" sz="1400" dirty="0">
                  <a:latin typeface="+mn-lt"/>
                  <a:cs typeface="Times New Roman" pitchFamily="18" charset="0"/>
                </a:rPr>
                <a:t>бухгалтерских документов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1097747" y="5451327"/>
              <a:ext cx="1872207" cy="7576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latin typeface="+mn-lt"/>
                  <a:cs typeface="Times New Roman" pitchFamily="18" charset="0"/>
                </a:rPr>
                <a:t>Прием </a:t>
              </a:r>
            </a:p>
            <a:p>
              <a:pPr algn="ctr"/>
              <a:r>
                <a:rPr lang="ru-RU" sz="1400" dirty="0">
                  <a:latin typeface="+mn-lt"/>
                  <a:cs typeface="Times New Roman" pitchFamily="18" charset="0"/>
                </a:rPr>
                <a:t>бухгалтерских документов</a:t>
              </a:r>
            </a:p>
          </p:txBody>
        </p:sp>
        <p:cxnSp>
          <p:nvCxnSpPr>
            <p:cNvPr id="48" name="Прямая со стрелкой 47"/>
            <p:cNvCxnSpPr/>
            <p:nvPr/>
          </p:nvCxnSpPr>
          <p:spPr>
            <a:xfrm>
              <a:off x="2852152" y="6021288"/>
              <a:ext cx="3424084" cy="0"/>
            </a:xfrm>
            <a:prstGeom prst="straightConnector1">
              <a:avLst/>
            </a:prstGeom>
            <a:ln w="12700"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Прямоугольник 48"/>
            <p:cNvSpPr/>
            <p:nvPr/>
          </p:nvSpPr>
          <p:spPr>
            <a:xfrm>
              <a:off x="2887953" y="5768166"/>
              <a:ext cx="3065960" cy="3156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+mn-lt"/>
                  <a:cs typeface="Times New Roman" pitchFamily="18" charset="0"/>
                </a:rPr>
                <a:t>УПД</a:t>
              </a:r>
            </a:p>
          </p:txBody>
        </p:sp>
        <p:cxnSp>
          <p:nvCxnSpPr>
            <p:cNvPr id="50" name="Прямая со стрелкой 49"/>
            <p:cNvCxnSpPr/>
            <p:nvPr/>
          </p:nvCxnSpPr>
          <p:spPr>
            <a:xfrm>
              <a:off x="539552" y="5055642"/>
              <a:ext cx="7402658" cy="0"/>
            </a:xfrm>
            <a:prstGeom prst="straightConnector1">
              <a:avLst/>
            </a:prstGeom>
            <a:ln w="25400">
              <a:solidFill>
                <a:srgbClr val="BFBFBF"/>
              </a:solidFill>
              <a:prstDash val="sysDot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06991" y="5077254"/>
              <a:ext cx="933580" cy="495369"/>
            </a:xfrm>
            <a:prstGeom prst="rect">
              <a:avLst/>
            </a:prstGeom>
          </p:spPr>
        </p:pic>
        <p:sp>
          <p:nvSpPr>
            <p:cNvPr id="55" name="Прямоугольник 54"/>
            <p:cNvSpPr/>
            <p:nvPr/>
          </p:nvSpPr>
          <p:spPr>
            <a:xfrm>
              <a:off x="3949784" y="5478517"/>
              <a:ext cx="1380990" cy="3156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ru-RU" sz="1400" b="1" dirty="0">
                  <a:latin typeface="+mn-lt"/>
                  <a:cs typeface="Times New Roman" pitchFamily="18" charset="0"/>
                </a:rPr>
                <a:t>Оператор ЭДО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 rot="16200000">
              <a:off x="216281" y="5516163"/>
              <a:ext cx="1129902" cy="312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BFBFBF"/>
                  </a:solidFill>
                  <a:latin typeface="+mn-lt"/>
                  <a:cs typeface="Times New Roman" pitchFamily="18" charset="0"/>
                </a:rPr>
                <a:t>ЮЗ ЭДО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 rot="16200000">
              <a:off x="26124" y="2725659"/>
              <a:ext cx="1510217" cy="3123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BFBFBF"/>
                  </a:solidFill>
                  <a:latin typeface="+mn-lt"/>
                  <a:cs typeface="Times New Roman" pitchFamily="18" charset="0"/>
                </a:rPr>
                <a:t>SRM-SUS/EDI</a:t>
              </a:r>
              <a:endParaRPr lang="ru-RU" sz="1400" b="1" dirty="0">
                <a:solidFill>
                  <a:srgbClr val="BFBFBF"/>
                </a:solidFill>
                <a:latin typeface="+mn-lt"/>
                <a:cs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147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4"/>
          <p:cNvSpPr txBox="1">
            <a:spLocks/>
          </p:cNvSpPr>
          <p:nvPr/>
        </p:nvSpPr>
        <p:spPr bwMode="auto">
          <a:xfrm>
            <a:off x="2261076" y="5589523"/>
            <a:ext cx="7345772" cy="270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9" tIns="34294" rIns="68589" bIns="34294" numCol="1" rtlCol="0" anchor="t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endParaRPr lang="ru-RU" sz="825" i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3352" y="207123"/>
            <a:ext cx="9144000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Цели электронного обмена заказами на поставку</a:t>
            </a:r>
          </a:p>
        </p:txBody>
      </p:sp>
      <p:sp>
        <p:nvSpPr>
          <p:cNvPr id="41" name="Объект 5"/>
          <p:cNvSpPr txBox="1">
            <a:spLocks/>
          </p:cNvSpPr>
          <p:nvPr/>
        </p:nvSpPr>
        <p:spPr>
          <a:xfrm>
            <a:off x="623392" y="692696"/>
            <a:ext cx="10153128" cy="6336704"/>
          </a:xfrm>
          <a:prstGeom prst="rect">
            <a:avLst/>
          </a:prstGeom>
        </p:spPr>
        <p:txBody>
          <a:bodyPr lIns="27004" tIns="27004" rIns="27004" bIns="27004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 lvl="1" indent="0" algn="just">
              <a:buNone/>
            </a:pPr>
            <a:r>
              <a:rPr lang="ru-RU" sz="1500" dirty="0"/>
              <a:t>«</a:t>
            </a:r>
            <a:r>
              <a:rPr lang="ru-RU" sz="1500" b="1" dirty="0"/>
              <a:t>SAP SRM-SUS</a:t>
            </a:r>
            <a:r>
              <a:rPr lang="ru-RU" sz="1500" dirty="0"/>
              <a:t>» - (Supplier Self-Services) программный продукт SAP, обеспечивающий возможность электронного обмена данными от заказа на поставку до формирования уведомления об отгрузке. </a:t>
            </a:r>
          </a:p>
          <a:p>
            <a:pPr marL="72000" lvl="1" indent="0" algn="just">
              <a:buNone/>
            </a:pPr>
            <a:r>
              <a:rPr lang="ru-RU" sz="1500" dirty="0"/>
              <a:t>«</a:t>
            </a:r>
            <a:r>
              <a:rPr lang="ru-RU" sz="1500" b="1" dirty="0"/>
              <a:t>EDI</a:t>
            </a:r>
            <a:r>
              <a:rPr lang="ru-RU" sz="1500" dirty="0"/>
              <a:t>» - (Electronic data interchange) - технология обмена электронными стандартизированными сообщениями и документами между поставщиками и заказчиками, осуществляемый в НЛМК через </a:t>
            </a:r>
            <a:r>
              <a:rPr lang="en-US" sz="1500" dirty="0"/>
              <a:t>EDI-</a:t>
            </a:r>
            <a:r>
              <a:rPr lang="ru-RU" sz="1500" dirty="0"/>
              <a:t>провайдера.</a:t>
            </a:r>
          </a:p>
          <a:p>
            <a:pPr marL="72000" lvl="1" indent="0" algn="just">
              <a:buNone/>
            </a:pPr>
            <a:endParaRPr lang="ru-RU" sz="1200" dirty="0"/>
          </a:p>
          <a:p>
            <a:pPr marL="72000" lvl="1" indent="0">
              <a:buNone/>
            </a:pPr>
            <a:endParaRPr lang="ru-RU" sz="1400" b="1" dirty="0"/>
          </a:p>
          <a:p>
            <a:pPr marL="72000" lvl="1" indent="0">
              <a:buNone/>
            </a:pPr>
            <a:endParaRPr lang="ru-RU" sz="1400" b="1" dirty="0"/>
          </a:p>
          <a:p>
            <a:pPr marL="72000" lvl="1" indent="0">
              <a:buNone/>
            </a:pPr>
            <a:endParaRPr lang="ru-RU" sz="1400" b="1" dirty="0"/>
          </a:p>
          <a:p>
            <a:pPr marL="72000" lvl="1" indent="0">
              <a:buNone/>
            </a:pPr>
            <a:endParaRPr lang="ru-RU" sz="1400" b="1" dirty="0"/>
          </a:p>
          <a:p>
            <a:pPr marL="360000" lvl="1" indent="0">
              <a:spcBef>
                <a:spcPts val="300"/>
              </a:spcBef>
              <a:buNone/>
            </a:pPr>
            <a:endParaRPr lang="ru-RU" sz="1400" b="1" dirty="0">
              <a:solidFill>
                <a:srgbClr val="2C5697"/>
              </a:solidFill>
            </a:endParaRPr>
          </a:p>
          <a:p>
            <a:pPr marL="360000" lvl="1" indent="0">
              <a:spcBef>
                <a:spcPts val="300"/>
              </a:spcBef>
              <a:buNone/>
            </a:pPr>
            <a:r>
              <a:rPr lang="ru-RU" sz="1600" b="1" dirty="0">
                <a:solidFill>
                  <a:srgbClr val="2C5697"/>
                </a:solidFill>
              </a:rPr>
              <a:t>ЦЕЛИ </a:t>
            </a:r>
          </a:p>
          <a:p>
            <a:pPr marL="360000" lvl="1" indent="0">
              <a:spcBef>
                <a:spcPts val="300"/>
              </a:spcBef>
              <a:buNone/>
            </a:pPr>
            <a:r>
              <a:rPr lang="ru-RU" sz="1600" b="1" dirty="0">
                <a:solidFill>
                  <a:srgbClr val="2C5697"/>
                </a:solidFill>
              </a:rPr>
              <a:t>электронного </a:t>
            </a:r>
          </a:p>
          <a:p>
            <a:pPr marL="360000" lvl="1" indent="0">
              <a:spcBef>
                <a:spcPts val="300"/>
              </a:spcBef>
              <a:buNone/>
            </a:pPr>
            <a:r>
              <a:rPr lang="ru-RU" sz="1600" b="1" dirty="0">
                <a:solidFill>
                  <a:srgbClr val="2C5697"/>
                </a:solidFill>
              </a:rPr>
              <a:t>обмена </a:t>
            </a:r>
          </a:p>
          <a:p>
            <a:pPr marL="360000" lvl="1" indent="0">
              <a:spcBef>
                <a:spcPts val="300"/>
              </a:spcBef>
              <a:buNone/>
            </a:pPr>
            <a:r>
              <a:rPr lang="ru-RU" sz="1600" b="1" dirty="0">
                <a:solidFill>
                  <a:srgbClr val="2C5697"/>
                </a:solidFill>
              </a:rPr>
              <a:t>данными</a:t>
            </a:r>
          </a:p>
          <a:p>
            <a:pPr marL="72000" lvl="1" indent="0" algn="ctr">
              <a:buNone/>
            </a:pPr>
            <a:endParaRPr lang="ru-RU" sz="1400" b="1" dirty="0"/>
          </a:p>
          <a:p>
            <a:pPr marL="228600" indent="-228600">
              <a:buFont typeface="Arial" panose="020B0604020202020204" pitchFamily="34" charset="0"/>
              <a:buAutoNum type="arabicParenR"/>
            </a:pPr>
            <a:endParaRPr lang="ru-RU" sz="1100" dirty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endParaRPr>
          </a:p>
          <a:p>
            <a:pPr marL="628650" lvl="1" indent="-228600">
              <a:buFont typeface="Wingdings" panose="05000000000000000000" pitchFamily="2" charset="2"/>
              <a:buChar char="ü"/>
            </a:pPr>
            <a:endParaRPr lang="ru-RU" sz="1100" dirty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endParaRPr>
          </a:p>
          <a:p>
            <a:pPr marL="628650" lvl="1" indent="-228600">
              <a:buFont typeface="Wingdings" panose="05000000000000000000" pitchFamily="2" charset="2"/>
              <a:buChar char="ü"/>
            </a:pPr>
            <a:endParaRPr lang="ru-RU" sz="1100" dirty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endParaRPr>
          </a:p>
          <a:p>
            <a:pPr marL="0" indent="0">
              <a:buNone/>
            </a:pPr>
            <a:endParaRPr lang="ru-RU" sz="1100" dirty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endParaRPr>
          </a:p>
          <a:p>
            <a:pPr marL="0" indent="0">
              <a:buNone/>
            </a:pPr>
            <a:endParaRPr lang="ru-RU" sz="1100" dirty="0">
              <a:solidFill>
                <a:schemeClr val="tx1">
                  <a:lumMod val="85000"/>
                  <a:lumOff val="15000"/>
                </a:schemeClr>
              </a:solidFill>
              <a:cs typeface="Times New Roman" pitchFamily="18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418680983"/>
              </p:ext>
            </p:extLst>
          </p:nvPr>
        </p:nvGraphicFramePr>
        <p:xfrm>
          <a:off x="4169707" y="1700808"/>
          <a:ext cx="8479021" cy="6039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2927648" y="2282496"/>
            <a:ext cx="1888958" cy="3738792"/>
            <a:chOff x="1746938" y="2132856"/>
            <a:chExt cx="1888958" cy="3738792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67517" y="2276872"/>
              <a:ext cx="991589" cy="114414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244112" y="3399417"/>
              <a:ext cx="1014994" cy="123401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270992" y="4709229"/>
              <a:ext cx="984637" cy="1114480"/>
            </a:xfrm>
            <a:prstGeom prst="rect">
              <a:avLst/>
            </a:prstGeom>
          </p:spPr>
        </p:pic>
        <p:cxnSp>
          <p:nvCxnSpPr>
            <p:cNvPr id="12" name="Прямая соединительная линия 11"/>
            <p:cNvCxnSpPr/>
            <p:nvPr/>
          </p:nvCxnSpPr>
          <p:spPr>
            <a:xfrm>
              <a:off x="1835696" y="2132856"/>
              <a:ext cx="1800200" cy="3738792"/>
            </a:xfrm>
            <a:prstGeom prst="line">
              <a:avLst/>
            </a:prstGeom>
            <a:ln w="285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 flipH="1">
              <a:off x="1746938" y="2132856"/>
              <a:ext cx="1888958" cy="3738792"/>
            </a:xfrm>
            <a:prstGeom prst="line">
              <a:avLst/>
            </a:prstGeom>
            <a:ln w="285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9267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8734" y="178561"/>
            <a:ext cx="9144000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Преимущества электронного обмена заказами на поставку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2538310" y="1124744"/>
            <a:ext cx="6864424" cy="4680520"/>
            <a:chOff x="1524000" y="1052736"/>
            <a:chExt cx="6096000" cy="4064000"/>
          </a:xfrm>
        </p:grpSpPr>
        <p:graphicFrame>
          <p:nvGraphicFramePr>
            <p:cNvPr id="5" name="Схема 4"/>
            <p:cNvGraphicFramePr/>
            <p:nvPr>
              <p:extLst>
                <p:ext uri="{D42A27DB-BD31-4B8C-83A1-F6EECF244321}">
                  <p14:modId xmlns:p14="http://schemas.microsoft.com/office/powerpoint/2010/main" val="245807084"/>
                </p:ext>
              </p:extLst>
            </p:nvPr>
          </p:nvGraphicFramePr>
          <p:xfrm>
            <a:off x="1524000" y="1052736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88686" y="2272807"/>
              <a:ext cx="491716" cy="655621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736857" y="2303198"/>
              <a:ext cx="656606" cy="632816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709567" y="3178521"/>
              <a:ext cx="649955" cy="563295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691680" y="3210021"/>
              <a:ext cx="704948" cy="5953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542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1344" y="119093"/>
            <a:ext cx="9144000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Отличия инструментов </a:t>
            </a:r>
            <a:r>
              <a:rPr lang="en-US" b="1" dirty="0">
                <a:solidFill>
                  <a:srgbClr val="2C5697"/>
                </a:solidFill>
              </a:rPr>
              <a:t>SAP SRM-SUS </a:t>
            </a:r>
            <a:r>
              <a:rPr lang="ru-RU" b="1" dirty="0">
                <a:solidFill>
                  <a:srgbClr val="2C5697"/>
                </a:solidFill>
              </a:rPr>
              <a:t>и сервиса </a:t>
            </a:r>
            <a:r>
              <a:rPr lang="en-US" b="1" dirty="0">
                <a:solidFill>
                  <a:srgbClr val="2C5697"/>
                </a:solidFill>
              </a:rPr>
              <a:t>EDI</a:t>
            </a:r>
            <a:endParaRPr lang="ru-RU" b="1" dirty="0">
              <a:solidFill>
                <a:srgbClr val="2C5697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678638"/>
              </p:ext>
            </p:extLst>
          </p:nvPr>
        </p:nvGraphicFramePr>
        <p:xfrm>
          <a:off x="623392" y="692696"/>
          <a:ext cx="10153127" cy="54679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9443">
                  <a:extLst>
                    <a:ext uri="{9D8B030D-6E8A-4147-A177-3AD203B41FA5}">
                      <a16:colId xmlns:a16="http://schemas.microsoft.com/office/drawing/2014/main" val="3303357687"/>
                    </a:ext>
                  </a:extLst>
                </a:gridCol>
                <a:gridCol w="3317359">
                  <a:extLst>
                    <a:ext uri="{9D8B030D-6E8A-4147-A177-3AD203B41FA5}">
                      <a16:colId xmlns:a16="http://schemas.microsoft.com/office/drawing/2014/main" val="164573272"/>
                    </a:ext>
                  </a:extLst>
                </a:gridCol>
                <a:gridCol w="3266325">
                  <a:extLst>
                    <a:ext uri="{9D8B030D-6E8A-4147-A177-3AD203B41FA5}">
                      <a16:colId xmlns:a16="http://schemas.microsoft.com/office/drawing/2014/main" val="559505959"/>
                    </a:ext>
                  </a:extLst>
                </a:gridCol>
              </a:tblGrid>
              <a:tr h="578767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Критерии выбора инструмента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SAP SRM-SUS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Интеграция </a:t>
                      </a:r>
                    </a:p>
                    <a:p>
                      <a:pPr algn="ctr"/>
                      <a:r>
                        <a:rPr lang="ru-RU" sz="1500" dirty="0" smtClean="0"/>
                        <a:t>с сервисом</a:t>
                      </a:r>
                      <a:r>
                        <a:rPr lang="ru-RU" sz="1500" baseline="0" dirty="0" smtClean="0"/>
                        <a:t> </a:t>
                      </a:r>
                      <a:r>
                        <a:rPr lang="en-US" sz="1500" baseline="0" dirty="0" smtClean="0"/>
                        <a:t>EDI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0682120"/>
                  </a:ext>
                </a:extLst>
              </a:tr>
              <a:tr h="517844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1.</a:t>
                      </a:r>
                      <a:r>
                        <a:rPr lang="en-US" sz="1500" baseline="0" dirty="0" smtClean="0"/>
                        <a:t> </a:t>
                      </a:r>
                      <a:r>
                        <a:rPr lang="ru-RU" sz="1500" baseline="0" dirty="0" smtClean="0"/>
                        <a:t>В какой системе нужно работать поставщику?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Web-</a:t>
                      </a:r>
                      <a:r>
                        <a:rPr lang="ru-RU" sz="1500" dirty="0" smtClean="0"/>
                        <a:t>платформа НЛМК – </a:t>
                      </a:r>
                    </a:p>
                    <a:p>
                      <a:r>
                        <a:rPr lang="en-US" sz="1500" dirty="0" smtClean="0"/>
                        <a:t>SRM-SUS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Собственная</a:t>
                      </a:r>
                      <a:r>
                        <a:rPr lang="ru-RU" sz="1500" baseline="0" dirty="0" smtClean="0"/>
                        <a:t> учетная система поставщика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0291363"/>
                  </a:ext>
                </a:extLst>
              </a:tr>
              <a:tr h="517844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2. Какая</a:t>
                      </a:r>
                      <a:r>
                        <a:rPr lang="ru-RU" sz="1500" baseline="0" dirty="0" smtClean="0"/>
                        <a:t> система отвечает за передачу данных?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Система НЛМК – </a:t>
                      </a:r>
                    </a:p>
                    <a:p>
                      <a:r>
                        <a:rPr lang="en-US" sz="1500" dirty="0" smtClean="0"/>
                        <a:t>SRM-SUS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Система </a:t>
                      </a:r>
                      <a:r>
                        <a:rPr lang="en-US" sz="1500" dirty="0" smtClean="0"/>
                        <a:t>EDI-</a:t>
                      </a:r>
                      <a:r>
                        <a:rPr lang="ru-RU" sz="1500" dirty="0" smtClean="0"/>
                        <a:t>провайдера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909194"/>
                  </a:ext>
                </a:extLst>
              </a:tr>
              <a:tr h="1157533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3. Какова стоимость решения?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Бесплатно </a:t>
                      </a:r>
                    </a:p>
                    <a:p>
                      <a:r>
                        <a:rPr lang="ru-RU" sz="1500" dirty="0" smtClean="0"/>
                        <a:t>(требуется только Интернет-соединение)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 smtClean="0"/>
                        <a:t>GLN-</a:t>
                      </a:r>
                      <a:r>
                        <a:rPr lang="ru-RU" sz="1500" dirty="0" smtClean="0"/>
                        <a:t>номер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500" dirty="0" smtClean="0"/>
                        <a:t>Работы</a:t>
                      </a:r>
                      <a:r>
                        <a:rPr lang="ru-RU" sz="1500" baseline="0" dirty="0" smtClean="0"/>
                        <a:t> по интеграции с </a:t>
                      </a:r>
                      <a:r>
                        <a:rPr lang="en-US" sz="1500" baseline="0" dirty="0" smtClean="0"/>
                        <a:t>EDI</a:t>
                      </a:r>
                      <a:r>
                        <a:rPr lang="ru-RU" sz="1500" baseline="0" dirty="0" smtClean="0"/>
                        <a:t>-провайдером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500" baseline="0" dirty="0" smtClean="0"/>
                        <a:t>Оплата лицензий на ПО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500" baseline="0" dirty="0" smtClean="0"/>
                        <a:t>Оплата трафика </a:t>
                      </a:r>
                      <a:r>
                        <a:rPr lang="en-US" sz="1500" baseline="0" dirty="0" smtClean="0"/>
                        <a:t>EDI-</a:t>
                      </a:r>
                      <a:r>
                        <a:rPr lang="ru-RU" sz="1500" baseline="0" dirty="0" smtClean="0"/>
                        <a:t>сообщений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1500189"/>
                  </a:ext>
                </a:extLst>
              </a:tr>
              <a:tr h="517844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4.</a:t>
                      </a:r>
                      <a:r>
                        <a:rPr lang="ru-RU" sz="1500" baseline="0" dirty="0" smtClean="0"/>
                        <a:t> Типы передаваемых сообщений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6785175"/>
                  </a:ext>
                </a:extLst>
              </a:tr>
              <a:tr h="527488">
                <a:tc>
                  <a:txBody>
                    <a:bodyPr/>
                    <a:lstStyle/>
                    <a:p>
                      <a:pPr indent="252000">
                        <a:spcBef>
                          <a:spcPts val="0"/>
                        </a:spcBef>
                      </a:pPr>
                      <a:r>
                        <a:rPr lang="ru-RU" sz="1500" dirty="0" smtClean="0"/>
                        <a:t>Заказ на поставку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5536131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indent="252000">
                        <a:spcBef>
                          <a:spcPts val="0"/>
                        </a:spcBef>
                      </a:pPr>
                      <a:r>
                        <a:rPr lang="ru-RU" sz="1500" dirty="0" smtClean="0"/>
                        <a:t>Ответ на заказ на поставку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5626671"/>
                  </a:ext>
                </a:extLst>
              </a:tr>
              <a:tr h="480902">
                <a:tc>
                  <a:txBody>
                    <a:bodyPr/>
                    <a:lstStyle/>
                    <a:p>
                      <a:pPr indent="252000">
                        <a:spcBef>
                          <a:spcPts val="0"/>
                        </a:spcBef>
                      </a:pPr>
                      <a:r>
                        <a:rPr lang="ru-RU" sz="1500" dirty="0" smtClean="0"/>
                        <a:t>Уведомление</a:t>
                      </a:r>
                      <a:r>
                        <a:rPr lang="ru-RU" sz="1500" baseline="0" dirty="0" smtClean="0"/>
                        <a:t> об отгрузке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595847"/>
                  </a:ext>
                </a:extLst>
              </a:tr>
              <a:tr h="527210">
                <a:tc>
                  <a:txBody>
                    <a:bodyPr/>
                    <a:lstStyle/>
                    <a:p>
                      <a:pPr indent="252000">
                        <a:spcBef>
                          <a:spcPts val="0"/>
                        </a:spcBef>
                      </a:pPr>
                      <a:r>
                        <a:rPr lang="ru-RU" sz="1500" dirty="0" smtClean="0"/>
                        <a:t>Уведомление</a:t>
                      </a:r>
                      <a:r>
                        <a:rPr lang="ru-RU" sz="1500" baseline="0" dirty="0" smtClean="0"/>
                        <a:t> о приемке</a:t>
                      </a:r>
                      <a:endParaRPr lang="ru-RU" sz="1500" dirty="0"/>
                    </a:p>
                  </a:txBody>
                  <a:tcPr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/>
                    </a:p>
                  </a:txBody>
                  <a:tcPr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578269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4653136"/>
            <a:ext cx="432246" cy="41438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098" y="4670799"/>
            <a:ext cx="432246" cy="41438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4149080"/>
            <a:ext cx="432246" cy="41438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5157192"/>
            <a:ext cx="432246" cy="41438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098" y="5174855"/>
            <a:ext cx="432246" cy="41438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296" y="4149080"/>
            <a:ext cx="432246" cy="41438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296" y="5661248"/>
            <a:ext cx="432246" cy="41438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8587" y="5661248"/>
            <a:ext cx="455405" cy="447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967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63352" y="255454"/>
            <a:ext cx="8532440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Как перейти на электронный обмен заказами на поставку 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087312570"/>
              </p:ext>
            </p:extLst>
          </p:nvPr>
        </p:nvGraphicFramePr>
        <p:xfrm>
          <a:off x="695400" y="255454"/>
          <a:ext cx="10153128" cy="3533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274018587"/>
              </p:ext>
            </p:extLst>
          </p:nvPr>
        </p:nvGraphicFramePr>
        <p:xfrm>
          <a:off x="5375920" y="3320988"/>
          <a:ext cx="4680520" cy="2556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Стрелка вниз 10"/>
          <p:cNvSpPr/>
          <p:nvPr/>
        </p:nvSpPr>
        <p:spPr>
          <a:xfrm>
            <a:off x="7248128" y="2924944"/>
            <a:ext cx="288032" cy="360040"/>
          </a:xfrm>
          <a:prstGeom prst="downArrow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pic>
        <p:nvPicPr>
          <p:cNvPr id="2050" name="Picture 2" descr="https://newplanet.com.ua/wp-content/uploads/2017/02/i-1.jpe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2045" y="3232246"/>
            <a:ext cx="4199899" cy="2902919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161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5360" y="163379"/>
            <a:ext cx="9144000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Контакты по организации обмена через </a:t>
            </a:r>
            <a:r>
              <a:rPr lang="en-US" b="1" dirty="0">
                <a:solidFill>
                  <a:srgbClr val="2C5697"/>
                </a:solidFill>
              </a:rPr>
              <a:t>SRM-SUS </a:t>
            </a:r>
            <a:r>
              <a:rPr lang="ru-RU" b="1" dirty="0">
                <a:solidFill>
                  <a:srgbClr val="2C5697"/>
                </a:solidFill>
              </a:rPr>
              <a:t>и </a:t>
            </a:r>
            <a:r>
              <a:rPr lang="en-US" b="1" dirty="0">
                <a:solidFill>
                  <a:srgbClr val="2C5697"/>
                </a:solidFill>
              </a:rPr>
              <a:t>EDI</a:t>
            </a:r>
            <a:endParaRPr lang="ru-RU" b="1" dirty="0">
              <a:solidFill>
                <a:srgbClr val="2C5697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95400" y="692697"/>
            <a:ext cx="950505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imes New Roman" pitchFamily="18" charset="0"/>
              </a:rPr>
              <a:t>На текущий момент компания НЛМК имеет договор с </a:t>
            </a:r>
            <a:r>
              <a:rPr 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imes New Roman" pitchFamily="18" charset="0"/>
              </a:rPr>
              <a:t>EDI-</a:t>
            </a:r>
            <a:r>
              <a:rPr lang="ru-RU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imes New Roman" pitchFamily="18" charset="0"/>
              </a:rPr>
              <a:t>провайдером АО «ПФ «СКБ Контур»:</a:t>
            </a:r>
            <a:r>
              <a:rPr 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imes New Roman" pitchFamily="18" charset="0"/>
              </a:rPr>
              <a:t> </a:t>
            </a:r>
            <a:r>
              <a:rPr 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imes New Roman" pitchFamily="18" charset="0"/>
                <a:hlinkClick r:id="rId3"/>
              </a:rPr>
              <a:t>https://kontur.ru/edi</a:t>
            </a:r>
            <a:endParaRPr lang="ru-RU" sz="15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imes New Roman" pitchFamily="18" charset="0"/>
            </a:endParaRPr>
          </a:p>
          <a:p>
            <a:endParaRPr lang="ru-RU" sz="15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695400" y="1258126"/>
            <a:ext cx="9011394" cy="1666819"/>
          </a:xfrm>
          <a:prstGeom prst="rect">
            <a:avLst/>
          </a:prstGeom>
        </p:spPr>
        <p:txBody>
          <a:bodyPr/>
          <a:lstStyle>
            <a:lvl1pPr marL="257209" indent="-25720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87" indent="-21434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364" indent="-17147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310" indent="-17147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256" indent="-17147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500" dirty="0">
                <a:latin typeface="+mj-lt"/>
              </a:rPr>
              <a:t>Контактные лица от НЛМК:</a:t>
            </a:r>
          </a:p>
          <a:p>
            <a:pPr marL="0" indent="0">
              <a:spcBef>
                <a:spcPts val="0"/>
              </a:spcBef>
              <a:buNone/>
            </a:pPr>
            <a:endParaRPr lang="ru-RU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r>
              <a:rPr lang="ru-RU" sz="1500" dirty="0">
                <a:latin typeface="+mj-lt"/>
              </a:rPr>
              <a:t>по вопросу подписания Соглашения об электронном обмене данными</a:t>
            </a:r>
            <a:r>
              <a:rPr lang="en-US" sz="1500" dirty="0">
                <a:latin typeface="+mj-lt"/>
              </a:rPr>
              <a:t>:</a:t>
            </a:r>
          </a:p>
          <a:p>
            <a:pPr marL="342900" indent="-342900">
              <a:spcBef>
                <a:spcPts val="0"/>
              </a:spcBef>
              <a:buAutoNum type="arabicParenR"/>
            </a:pPr>
            <a:endParaRPr lang="en-US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en-US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en-US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en-US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en-US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ru-RU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ru-RU" sz="1500" dirty="0" smtClean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r>
              <a:rPr lang="ru-RU" sz="1500" dirty="0" smtClean="0">
                <a:latin typeface="+mj-lt"/>
              </a:rPr>
              <a:t>по </a:t>
            </a:r>
            <a:r>
              <a:rPr lang="ru-RU" sz="1500" dirty="0">
                <a:latin typeface="+mj-lt"/>
              </a:rPr>
              <a:t>техническим вопросам работы в системе </a:t>
            </a:r>
            <a:r>
              <a:rPr lang="en-US" sz="1500" dirty="0">
                <a:latin typeface="+mj-lt"/>
              </a:rPr>
              <a:t>SAP </a:t>
            </a:r>
            <a:r>
              <a:rPr lang="en-US" sz="1500" dirty="0" smtClean="0">
                <a:latin typeface="+mj-lt"/>
              </a:rPr>
              <a:t>SRM-SUS</a:t>
            </a:r>
            <a:r>
              <a:rPr lang="ru-RU" sz="1500" dirty="0" smtClean="0">
                <a:latin typeface="+mj-lt"/>
              </a:rPr>
              <a:t> и через сервис </a:t>
            </a:r>
            <a:r>
              <a:rPr lang="en-US" sz="1500" dirty="0" smtClean="0">
                <a:latin typeface="+mj-lt"/>
              </a:rPr>
              <a:t>EDI:</a:t>
            </a:r>
            <a:endParaRPr lang="en-US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en-US" sz="1500" dirty="0">
              <a:latin typeface="+mj-lt"/>
            </a:endParaRPr>
          </a:p>
          <a:p>
            <a:pPr marL="342900" indent="-342900">
              <a:spcBef>
                <a:spcPts val="0"/>
              </a:spcBef>
              <a:buAutoNum type="arabicParenR"/>
            </a:pPr>
            <a:endParaRPr lang="en-US" sz="1500" dirty="0">
              <a:latin typeface="+mj-lt"/>
            </a:endParaRPr>
          </a:p>
          <a:p>
            <a:pPr marL="0" indent="0">
              <a:buNone/>
            </a:pPr>
            <a:endParaRPr lang="ru-RU" sz="1400" dirty="0">
              <a:solidFill>
                <a:srgbClr val="274E9D"/>
              </a:solidFill>
              <a:latin typeface="Franklin Gothic Book" panose="020B0503020102020204" pitchFamily="34" charset="0"/>
            </a:endParaRPr>
          </a:p>
          <a:p>
            <a:pPr marL="0" indent="0">
              <a:buNone/>
            </a:pPr>
            <a:r>
              <a:rPr lang="ru-RU" sz="1400" dirty="0"/>
              <a:t>			</a:t>
            </a:r>
          </a:p>
          <a:p>
            <a:pPr marL="0" indent="0">
              <a:buNone/>
            </a:pPr>
            <a:r>
              <a:rPr lang="ru-RU" sz="1400" dirty="0"/>
              <a:t>			</a:t>
            </a: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1199456" y="1961207"/>
            <a:ext cx="3955451" cy="1554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Ерохин Дмитрий Игоревич </a:t>
            </a:r>
          </a:p>
          <a:p>
            <a:pPr lvl="0"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Начальник отдела </a:t>
            </a:r>
          </a:p>
          <a:p>
            <a:pPr lvl="0"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Управление сопровождения закупок</a:t>
            </a:r>
          </a:p>
          <a:p>
            <a:pPr lvl="0" eaLnBrk="0" hangingPunct="0"/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E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-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mail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: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  </a:t>
            </a:r>
            <a:r>
              <a:rPr lang="en-US" altLang="ru-RU" sz="1300" dirty="0">
                <a:solidFill>
                  <a:srgbClr val="1F4E79"/>
                </a:solidFill>
                <a:ea typeface="Calibri" panose="020F0502020204030204" pitchFamily="34" charset="0"/>
                <a:hlinkClick r:id="rId4"/>
              </a:rPr>
              <a:t>erohin_di@cscentr.com</a:t>
            </a:r>
            <a:endParaRPr lang="ru-RU" altLang="ru-RU" sz="1300" dirty="0">
              <a:solidFill>
                <a:srgbClr val="1F4E79"/>
              </a:solidFill>
              <a:ea typeface="Calibri" panose="020F0502020204030204" pitchFamily="34" charset="0"/>
            </a:endParaRPr>
          </a:p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Тел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.:    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+7 (495) 411-50-23, доб. 533</a:t>
            </a:r>
            <a:endParaRPr lang="en-US" altLang="ru-RU" sz="1300" dirty="0">
              <a:solidFill>
                <a:srgbClr val="1F4E79"/>
              </a:solidFill>
              <a:latin typeface="+mj-lt"/>
              <a:ea typeface="Calibri" panose="020F0502020204030204" pitchFamily="34" charset="0"/>
            </a:endParaRPr>
          </a:p>
          <a:p>
            <a:pPr eaLnBrk="0" hangingPunct="0"/>
            <a:endParaRPr lang="ru-RU" altLang="ru-RU" sz="1200" dirty="0">
              <a:latin typeface="+mj-lt"/>
            </a:endParaRPr>
          </a:p>
          <a:p>
            <a:pPr eaLnBrk="0" hangingPunct="0"/>
            <a:endParaRPr lang="ru-RU" altLang="ru-RU" dirty="0"/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1199456" y="3758793"/>
            <a:ext cx="4332710" cy="892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Служба поддержки поставщиков 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SAP SRM</a:t>
            </a:r>
          </a:p>
          <a:p>
            <a:pPr lvl="0" eaLnBrk="0" hangingPunct="0"/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E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-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mail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: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 </a:t>
            </a:r>
            <a:r>
              <a:rPr lang="en-US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5"/>
              </a:rPr>
              <a:t>srm@nlmk.com</a:t>
            </a:r>
            <a:endParaRPr lang="en-US" altLang="ru-RU" sz="1300" dirty="0">
              <a:solidFill>
                <a:srgbClr val="1F4E79"/>
              </a:solidFill>
              <a:latin typeface="+mj-lt"/>
              <a:ea typeface="Calibri" panose="020F0502020204030204" pitchFamily="34" charset="0"/>
            </a:endParaRPr>
          </a:p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Тел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.:   +7 (4742) 44-41-00</a:t>
            </a:r>
          </a:p>
          <a:p>
            <a:pPr eaLnBrk="0" hangingPunct="0"/>
            <a:endParaRPr lang="ru-RU" altLang="ru-RU" sz="1300" dirty="0"/>
          </a:p>
        </p:txBody>
      </p:sp>
      <p:pic>
        <p:nvPicPr>
          <p:cNvPr id="12" name="Рисунок 7" descr="cid:image002.png@01D57949.73AD2C00"/>
          <p:cNvPicPr>
            <a:picLocks noChangeAspect="1" noChangeArrowheads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464" y="3071542"/>
            <a:ext cx="13620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460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4"/>
          <p:cNvSpPr txBox="1">
            <a:spLocks/>
          </p:cNvSpPr>
          <p:nvPr/>
        </p:nvSpPr>
        <p:spPr bwMode="auto">
          <a:xfrm>
            <a:off x="2261075" y="5589523"/>
            <a:ext cx="7345772" cy="270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9" tIns="34294" rIns="68589" bIns="34294" numCol="1" rtlCol="0" anchor="t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endParaRPr lang="ru-RU" sz="825" i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08384" y="241945"/>
            <a:ext cx="9144000" cy="573603"/>
          </a:xfrm>
          <a:prstGeom prst="rect">
            <a:avLst/>
          </a:prstGeom>
          <a:noFill/>
        </p:spPr>
        <p:txBody>
          <a:bodyPr wrap="square" lIns="405053" tIns="54007" rIns="135018" bIns="27004" rtlCol="0">
            <a:noAutofit/>
          </a:bodyPr>
          <a:lstStyle>
            <a:defPPr>
              <a:defRPr lang="ru-RU"/>
            </a:defPPr>
            <a:lvl1pPr>
              <a:defRPr sz="2400">
                <a:latin typeface="+mn-lt"/>
              </a:defRPr>
            </a:lvl1pPr>
          </a:lstStyle>
          <a:p>
            <a:r>
              <a:rPr lang="ru-RU" b="1" dirty="0">
                <a:solidFill>
                  <a:srgbClr val="2C5697"/>
                </a:solidFill>
              </a:rPr>
              <a:t>Контакты по организации ЮЗ ЭДО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695400" y="733694"/>
            <a:ext cx="9011395" cy="2623299"/>
            <a:chOff x="422945" y="588599"/>
            <a:chExt cx="7759849" cy="2623299"/>
          </a:xfrm>
        </p:grpSpPr>
        <p:sp>
          <p:nvSpPr>
            <p:cNvPr id="6" name="Объект 2"/>
            <p:cNvSpPr txBox="1">
              <a:spLocks/>
            </p:cNvSpPr>
            <p:nvPr/>
          </p:nvSpPr>
          <p:spPr>
            <a:xfrm>
              <a:off x="467544" y="588599"/>
              <a:ext cx="7715250" cy="391051"/>
            </a:xfrm>
            <a:prstGeom prst="rect">
              <a:avLst/>
            </a:prstGeom>
          </p:spPr>
          <p:txBody>
            <a:bodyPr/>
            <a:lstStyle>
              <a:lvl1pPr marL="257209" indent="-257209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7287" indent="-214341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364" indent="-17147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310" indent="-17147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256" indent="-17147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ru-RU" sz="1500" dirty="0">
                  <a:latin typeface="+mj-lt"/>
                </a:rPr>
                <a:t>Подробную информацию об операторах ЭДО можно найти на официальных сайтах:</a:t>
              </a:r>
            </a:p>
            <a:p>
              <a:endParaRPr lang="ru-RU" sz="1400" dirty="0">
                <a:solidFill>
                  <a:srgbClr val="274E9D"/>
                </a:solidFill>
                <a:latin typeface="Franklin Gothic Book" panose="020B0503020102020204" pitchFamily="34" charset="0"/>
              </a:endParaRPr>
            </a:p>
            <a:p>
              <a:pPr marL="0" indent="0">
                <a:buNone/>
              </a:pPr>
              <a:r>
                <a:rPr lang="ru-RU" sz="1400" dirty="0"/>
                <a:t>			</a:t>
              </a:r>
              <a:endParaRPr lang="ru-RU" sz="1200" dirty="0"/>
            </a:p>
            <a:p>
              <a:pPr marL="0" indent="0">
                <a:buNone/>
              </a:pPr>
              <a:endParaRPr lang="ru-RU" sz="1400" dirty="0">
                <a:solidFill>
                  <a:srgbClr val="274E9D"/>
                </a:solidFill>
                <a:latin typeface="Franklin Gothic Book" panose="020B0503020102020204" pitchFamily="34" charset="0"/>
              </a:endParaRPr>
            </a:p>
            <a:p>
              <a:pPr marL="0" indent="0">
                <a:buNone/>
              </a:pPr>
              <a:r>
                <a:rPr lang="ru-RU" sz="1400" dirty="0"/>
                <a:t>			</a:t>
              </a:r>
            </a:p>
            <a:p>
              <a:pPr marL="0" indent="0">
                <a:buNone/>
              </a:pPr>
              <a:r>
                <a:rPr lang="ru-RU" sz="1400" dirty="0"/>
                <a:t>			</a:t>
              </a:r>
              <a:endParaRPr lang="ru-RU" dirty="0"/>
            </a:p>
            <a:p>
              <a:pPr marL="0" indent="0">
                <a:buNone/>
              </a:pPr>
              <a:endParaRPr lang="ru-RU" dirty="0"/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9552" y="980728"/>
              <a:ext cx="962025" cy="457200"/>
            </a:xfrm>
            <a:prstGeom prst="rect">
              <a:avLst/>
            </a:prstGeom>
          </p:spPr>
        </p:pic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2945" y="1484784"/>
              <a:ext cx="2790825" cy="495300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3662" y="2020838"/>
              <a:ext cx="1628775" cy="400050"/>
            </a:xfrm>
            <a:prstGeom prst="rect">
              <a:avLst/>
            </a:prstGeom>
          </p:spPr>
        </p:pic>
        <p:sp>
          <p:nvSpPr>
            <p:cNvPr id="9" name="Объект 2"/>
            <p:cNvSpPr txBox="1">
              <a:spLocks/>
            </p:cNvSpPr>
            <p:nvPr/>
          </p:nvSpPr>
          <p:spPr>
            <a:xfrm>
              <a:off x="3923928" y="1052736"/>
              <a:ext cx="4032448" cy="2159162"/>
            </a:xfrm>
            <a:prstGeom prst="rect">
              <a:avLst/>
            </a:prstGeom>
          </p:spPr>
          <p:txBody>
            <a:bodyPr/>
            <a:lstStyle>
              <a:lvl1pPr marL="257209" indent="-257209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57287" indent="-214341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364" indent="-17147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310" indent="-17147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256" indent="-171473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6201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147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093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039" indent="-171473" algn="l" defTabSz="685891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500" dirty="0">
                  <a:hlinkClick r:id="rId6"/>
                </a:rPr>
                <a:t>http://taxcom.ru/</a:t>
              </a:r>
              <a:endParaRPr lang="ru-RU" sz="1500" dirty="0"/>
            </a:p>
            <a:p>
              <a:pPr marL="0" indent="0">
                <a:buNone/>
              </a:pPr>
              <a:endParaRPr lang="ru-RU" sz="1500" dirty="0">
                <a:hlinkClick r:id="rId7"/>
              </a:endParaRPr>
            </a:p>
            <a:p>
              <a:pPr marL="0" indent="0">
                <a:buNone/>
              </a:pPr>
              <a:r>
                <a:rPr lang="en-US" sz="1500" dirty="0">
                  <a:hlinkClick r:id="rId7"/>
                </a:rPr>
                <a:t>https://www.diadoc.ru/</a:t>
              </a:r>
              <a:endParaRPr lang="ru-RU" sz="1500" dirty="0"/>
            </a:p>
            <a:p>
              <a:pPr marL="0" indent="0">
                <a:buNone/>
              </a:pPr>
              <a:endParaRPr lang="ru-RU" sz="1500" dirty="0">
                <a:hlinkClick r:id="rId8"/>
              </a:endParaRPr>
            </a:p>
            <a:p>
              <a:pPr marL="0" indent="0">
                <a:buNone/>
              </a:pPr>
              <a:r>
                <a:rPr lang="en-US" sz="1500" dirty="0">
                  <a:hlinkClick r:id="rId8"/>
                </a:rPr>
                <a:t>https://tensor.ru/</a:t>
              </a:r>
              <a:endParaRPr lang="ru-RU" sz="1500" dirty="0"/>
            </a:p>
            <a:p>
              <a:pPr marL="0" indent="0">
                <a:buNone/>
              </a:pPr>
              <a:endParaRPr lang="ru-RU" sz="1500" dirty="0">
                <a:hlinkClick r:id="rId9"/>
              </a:endParaRPr>
            </a:p>
            <a:p>
              <a:pPr marL="0" indent="0">
                <a:buNone/>
              </a:pPr>
              <a:r>
                <a:rPr lang="en-US" sz="1500" dirty="0">
                  <a:hlinkClick r:id="rId9"/>
                </a:rPr>
                <a:t>https://www.esphere.ru/</a:t>
              </a:r>
              <a:endParaRPr lang="ru-RU" sz="1500" dirty="0"/>
            </a:p>
            <a:p>
              <a:pPr marL="0" indent="0">
                <a:buNone/>
              </a:pPr>
              <a:endParaRPr lang="ru-RU" sz="1400" dirty="0"/>
            </a:p>
            <a:p>
              <a:pPr marL="0" indent="0">
                <a:buNone/>
              </a:pPr>
              <a:endParaRPr lang="ru-RU" sz="1400" dirty="0"/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39552" y="2491817"/>
              <a:ext cx="1933575" cy="590550"/>
            </a:xfrm>
            <a:prstGeom prst="rect">
              <a:avLst/>
            </a:prstGeom>
          </p:spPr>
        </p:pic>
      </p:grpSp>
      <p:sp>
        <p:nvSpPr>
          <p:cNvPr id="12" name="Объект 2"/>
          <p:cNvSpPr txBox="1">
            <a:spLocks/>
          </p:cNvSpPr>
          <p:nvPr/>
        </p:nvSpPr>
        <p:spPr>
          <a:xfrm>
            <a:off x="747192" y="3602400"/>
            <a:ext cx="8959602" cy="391051"/>
          </a:xfrm>
          <a:prstGeom prst="rect">
            <a:avLst/>
          </a:prstGeom>
        </p:spPr>
        <p:txBody>
          <a:bodyPr/>
          <a:lstStyle>
            <a:lvl1pPr marL="257209" indent="-25720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87" indent="-21434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364" indent="-17147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310" indent="-17147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256" indent="-17147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500" dirty="0">
                <a:latin typeface="+mj-lt"/>
              </a:rPr>
              <a:t>Контактные лица от НЛМК:</a:t>
            </a:r>
          </a:p>
          <a:p>
            <a:pPr marL="0" indent="0">
              <a:spcBef>
                <a:spcPts val="0"/>
              </a:spcBef>
              <a:buNone/>
            </a:pPr>
            <a:endParaRPr lang="ru-RU" sz="1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endParaRPr lang="ru-RU" sz="1200" dirty="0">
              <a:latin typeface="+mj-lt"/>
            </a:endParaRPr>
          </a:p>
          <a:p>
            <a:endParaRPr lang="ru-RU" sz="1400" dirty="0">
              <a:solidFill>
                <a:srgbClr val="274E9D"/>
              </a:solidFill>
              <a:latin typeface="Franklin Gothic Book" panose="020B0503020102020204" pitchFamily="34" charset="0"/>
            </a:endParaRPr>
          </a:p>
          <a:p>
            <a:pPr marL="0" indent="0">
              <a:buNone/>
            </a:pPr>
            <a:r>
              <a:rPr lang="ru-RU" sz="1400" dirty="0"/>
              <a:t>			</a:t>
            </a:r>
            <a:endParaRPr lang="ru-RU" sz="1200" dirty="0"/>
          </a:p>
          <a:p>
            <a:pPr marL="0" indent="0">
              <a:buNone/>
            </a:pPr>
            <a:endParaRPr lang="ru-RU" sz="1400" dirty="0">
              <a:solidFill>
                <a:srgbClr val="274E9D"/>
              </a:solidFill>
              <a:latin typeface="Franklin Gothic Book" panose="020B0503020102020204" pitchFamily="34" charset="0"/>
            </a:endParaRPr>
          </a:p>
          <a:p>
            <a:pPr marL="0" indent="0">
              <a:buNone/>
            </a:pPr>
            <a:r>
              <a:rPr lang="ru-RU" sz="1400" dirty="0"/>
              <a:t>			</a:t>
            </a:r>
          </a:p>
          <a:p>
            <a:pPr marL="0" indent="0">
              <a:buNone/>
            </a:pPr>
            <a:r>
              <a:rPr lang="ru-RU" sz="1400" dirty="0"/>
              <a:t>			</a:t>
            </a: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830814" y="4096807"/>
            <a:ext cx="2653803" cy="1492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Герасимова Виктория Юрьевна</a:t>
            </a:r>
            <a:endParaRPr lang="ru-RU" altLang="ru-RU" sz="1300" dirty="0">
              <a:latin typeface="+mj-lt"/>
            </a:endParaRPr>
          </a:p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Специалист</a:t>
            </a:r>
            <a:endParaRPr lang="ru-RU" altLang="ru-RU" sz="1300" dirty="0">
              <a:latin typeface="+mj-lt"/>
            </a:endParaRPr>
          </a:p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Отдел управления контрактами </a:t>
            </a:r>
            <a:endParaRPr lang="ru-RU" altLang="ru-RU" sz="1300" dirty="0">
              <a:latin typeface="+mj-lt"/>
            </a:endParaRPr>
          </a:p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по закупке ТМЦ</a:t>
            </a:r>
            <a:endParaRPr lang="ru-RU" altLang="ru-RU" sz="1300" dirty="0">
              <a:latin typeface="+mj-lt"/>
            </a:endParaRPr>
          </a:p>
          <a:p>
            <a:pPr eaLnBrk="0" hangingPunct="0"/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E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-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mail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: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 </a:t>
            </a:r>
            <a:r>
              <a:rPr lang="en-US" altLang="ru-RU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1"/>
              </a:rPr>
              <a:t>gerasimova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1"/>
              </a:rPr>
              <a:t>_</a:t>
            </a:r>
            <a:r>
              <a:rPr lang="en-US" altLang="ru-RU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1"/>
              </a:rPr>
              <a:t>vy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1"/>
              </a:rPr>
              <a:t>@</a:t>
            </a:r>
            <a:r>
              <a:rPr lang="en-US" altLang="ru-RU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1"/>
              </a:rPr>
              <a:t>cscentr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1"/>
              </a:rPr>
              <a:t>.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1"/>
              </a:rPr>
              <a:t>com</a:t>
            </a:r>
            <a:endParaRPr lang="ru-RU" altLang="ru-RU" sz="1300" dirty="0">
              <a:latin typeface="+mj-lt"/>
            </a:endParaRPr>
          </a:p>
          <a:p>
            <a:pPr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Тел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.:    +7 (495) 411-50-23, </a:t>
            </a:r>
            <a:r>
              <a:rPr lang="ru-RU" altLang="ru-RU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доб</a:t>
            </a:r>
            <a:r>
              <a:rPr lang="en-US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. </a:t>
            </a:r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552</a:t>
            </a:r>
            <a:endParaRPr lang="ru-RU" altLang="ru-RU" sz="1300" dirty="0">
              <a:latin typeface="+mj-lt"/>
            </a:endParaRPr>
          </a:p>
          <a:p>
            <a:pPr eaLnBrk="0" hangingPunct="0"/>
            <a:endParaRPr lang="ru-RU" altLang="ru-RU" sz="1300" dirty="0"/>
          </a:p>
        </p:txBody>
      </p:sp>
      <p:pic>
        <p:nvPicPr>
          <p:cNvPr id="1028" name="Рисунок 7" descr="cid:image002.png@01D57949.73AD2C00"/>
          <p:cNvPicPr>
            <a:picLocks noChangeAspect="1" noChangeArrowheads="1"/>
          </p:cNvPicPr>
          <p:nvPr/>
        </p:nvPicPr>
        <p:blipFill>
          <a:blip r:embed="rId12" r:link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327" y="5408548"/>
            <a:ext cx="13620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1524000" y="63448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4413893" y="4141095"/>
            <a:ext cx="2905091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Бельская Елена Анатольевна</a:t>
            </a:r>
          </a:p>
          <a:p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Начальник отдела </a:t>
            </a:r>
          </a:p>
          <a:p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Дирекция по развитию и управлению </a:t>
            </a:r>
          </a:p>
          <a:p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эффективностью бизнеса</a:t>
            </a:r>
          </a:p>
          <a:p>
            <a:r>
              <a:rPr lang="en-US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E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-</a:t>
            </a:r>
            <a:r>
              <a:rPr lang="en-US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mail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: </a:t>
            </a:r>
            <a:r>
              <a:rPr lang="en-US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4"/>
              </a:rPr>
              <a:t>belskaya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4"/>
              </a:rPr>
              <a:t>_</a:t>
            </a:r>
            <a:r>
              <a:rPr lang="en-US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4"/>
              </a:rPr>
              <a:t>ea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4"/>
              </a:rPr>
              <a:t>@</a:t>
            </a:r>
            <a:r>
              <a:rPr lang="en-US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4"/>
              </a:rPr>
              <a:t>nlmk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4"/>
              </a:rPr>
              <a:t>.</a:t>
            </a:r>
            <a:r>
              <a:rPr lang="en-US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4"/>
              </a:rPr>
              <a:t>com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 </a:t>
            </a:r>
          </a:p>
          <a:p>
            <a:pPr eaLnBrk="0" hangingPunct="0"/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Тел.: +7 (4742) 51-51-16</a:t>
            </a:r>
          </a:p>
          <a:p>
            <a:pPr eaLnBrk="0" hangingPunct="0"/>
            <a:endParaRPr lang="ru-RU" altLang="ru-RU" dirty="0"/>
          </a:p>
        </p:txBody>
      </p:sp>
      <p:sp>
        <p:nvSpPr>
          <p:cNvPr id="18" name="Rectangle 9"/>
          <p:cNvSpPr>
            <a:spLocks noChangeArrowheads="1"/>
          </p:cNvSpPr>
          <p:nvPr/>
        </p:nvSpPr>
        <p:spPr bwMode="auto">
          <a:xfrm>
            <a:off x="1676400" y="78688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22" name="Рисунок 7" descr="cid:image002.png@01D57949.73AD2C00"/>
          <p:cNvPicPr>
            <a:picLocks noChangeAspect="1" noChangeArrowheads="1"/>
          </p:cNvPicPr>
          <p:nvPr/>
        </p:nvPicPr>
        <p:blipFill>
          <a:blip r:embed="rId12" r:link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363" y="5408548"/>
            <a:ext cx="13620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8053017" y="4096807"/>
            <a:ext cx="2905091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hangingPunct="0"/>
            <a:r>
              <a:rPr lang="ru-RU" alt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Костенева Наталия Николаевна</a:t>
            </a:r>
          </a:p>
          <a:p>
            <a:pPr lvl="0" eaLnBrk="0" hangingPunct="0"/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Ведущий специалист </a:t>
            </a:r>
          </a:p>
          <a:p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Дирекция по развитию и управлению </a:t>
            </a:r>
          </a:p>
          <a:p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эффективностью бизнеса</a:t>
            </a:r>
          </a:p>
          <a:p>
            <a:r>
              <a:rPr lang="en-US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E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-</a:t>
            </a:r>
            <a:r>
              <a:rPr lang="en-US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mail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: </a:t>
            </a:r>
            <a:r>
              <a:rPr lang="en-US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5"/>
              </a:rPr>
              <a:t>kosteneva_nn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5"/>
              </a:rPr>
              <a:t>@</a:t>
            </a:r>
            <a:r>
              <a:rPr lang="en-US" sz="1300" dirty="0" err="1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5"/>
              </a:rPr>
              <a:t>nlmk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5"/>
              </a:rPr>
              <a:t>.</a:t>
            </a:r>
            <a:r>
              <a:rPr lang="en-US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  <a:hlinkClick r:id="rId15"/>
              </a:rPr>
              <a:t>com</a:t>
            </a:r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 </a:t>
            </a:r>
          </a:p>
          <a:p>
            <a:pPr eaLnBrk="0" hangingPunct="0"/>
            <a:r>
              <a:rPr lang="ru-RU" sz="1300" dirty="0">
                <a:solidFill>
                  <a:srgbClr val="1F4E79"/>
                </a:solidFill>
                <a:latin typeface="+mj-lt"/>
                <a:ea typeface="Calibri" panose="020F0502020204030204" pitchFamily="34" charset="0"/>
              </a:rPr>
              <a:t>Тел.: +7 (4742) 51-73-52</a:t>
            </a:r>
          </a:p>
          <a:p>
            <a:pPr eaLnBrk="0" hangingPunct="0"/>
            <a:endParaRPr lang="ru-RU" altLang="ru-RU" dirty="0"/>
          </a:p>
        </p:txBody>
      </p:sp>
      <p:pic>
        <p:nvPicPr>
          <p:cNvPr id="25" name="Рисунок 7" descr="cid:image002.png@01D57949.73AD2C00"/>
          <p:cNvPicPr>
            <a:picLocks noChangeAspect="1" noChangeArrowheads="1"/>
          </p:cNvPicPr>
          <p:nvPr/>
        </p:nvPicPr>
        <p:blipFill>
          <a:blip r:embed="rId12" r:link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888" y="5408548"/>
            <a:ext cx="13620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002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ы ИК 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Application xmlns="http://www.sap.com/cof/powerpoint/application">
  <Version>2</Version>
  <Revision>2.3.0.57241</Revision>
</Applic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623AA7D0240774BA2A1A2924062FAAD" ma:contentTypeVersion="1" ma:contentTypeDescription="Создание документа." ma:contentTypeScope="" ma:versionID="171a701194a457b60d6b4e6b23700156">
  <xsd:schema xmlns:xsd="http://www.w3.org/2001/XMLSchema" xmlns:xs="http://www.w3.org/2001/XMLSchema" xmlns:p="http://schemas.microsoft.com/office/2006/metadata/properties" xmlns:ns2="ef7ccbcb-1642-4080-816f-dc570aa35fa3" targetNamespace="http://schemas.microsoft.com/office/2006/metadata/properties" ma:root="true" ma:fieldsID="06663fb9990d80eb578f1322951a60af" ns2:_="">
    <xsd:import namespace="ef7ccbcb-1642-4080-816f-dc570aa35fa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7ccbcb-1642-4080-816f-dc570aa35fa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f7ccbcb-1642-4080-816f-dc570aa35fa3">PCC6A5ADPVTP-1457241014-883</_dlc_DocId>
    <_dlc_DocIdUrl xmlns="ef7ccbcb-1642-4080-816f-dc570aa35fa3">
      <Url>https://projects.nlmk.ru/sites/itmanage/_layouts/15/DocIdRedir.aspx?ID=PCC6A5ADPVTP-1457241014-883</Url>
      <Description>PCC6A5ADPVTP-1457241014-883</Description>
    </_dlc_DocIdUrl>
  </documentManagement>
</p:properties>
</file>

<file path=customXml/item5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6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F0C96CDA-F00A-41CD-8FF9-216E113891F8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E85E5374-C968-43C4-806B-016560F0BF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7E9D29E-FDB4-4E46-8934-A232F7EF4C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7ccbcb-1642-4080-816f-dc570aa35f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19A9C4A-2AB0-4B52-9BD2-FA7703123829}">
  <ds:schemaRefs>
    <ds:schemaRef ds:uri="http://purl.org/dc/elements/1.1/"/>
    <ds:schemaRef ds:uri="http://schemas.microsoft.com/office/2006/metadata/properties"/>
    <ds:schemaRef ds:uri="ef7ccbcb-1642-4080-816f-dc570aa35fa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D65FCC42-1C31-48F2-A9F1-D7D3B6C01702}">
  <ds:schemaRefs>
    <ds:schemaRef ds:uri="http://www.sap.com/cof/ao/powerpoint/application"/>
  </ds:schemaRefs>
</ds:datastoreItem>
</file>

<file path=customXml/itemProps6.xml><?xml version="1.0" encoding="utf-8"?>
<ds:datastoreItem xmlns:ds="http://schemas.openxmlformats.org/officeDocument/2006/customXml" ds:itemID="{A5A476E5-99E8-4721-9CFE-E3BF906B767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9606</TotalTime>
  <Words>909</Words>
  <Application>Microsoft Office PowerPoint</Application>
  <PresentationFormat>Широкоэкранный</PresentationFormat>
  <Paragraphs>202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2" baseType="lpstr">
      <vt:lpstr>Arial</vt:lpstr>
      <vt:lpstr>Calibri</vt:lpstr>
      <vt:lpstr>Franklin Gothic Book</vt:lpstr>
      <vt:lpstr>Source Sans Pro</vt:lpstr>
      <vt:lpstr>Times New Roman</vt:lpstr>
      <vt:lpstr>Verdana</vt:lpstr>
      <vt:lpstr>Wingdings</vt:lpstr>
      <vt:lpstr>шаблоны ИК </vt:lpstr>
      <vt:lpstr>Специальное оформление</vt:lpstr>
      <vt:lpstr>1_Специальное оформление</vt:lpstr>
      <vt:lpstr>2_Специальное оформление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аскина Елена Игоревна</dc:creator>
  <cp:lastModifiedBy>Горбенко Дарья Валерьевна</cp:lastModifiedBy>
  <cp:revision>1653</cp:revision>
  <cp:lastPrinted>2015-09-04T10:46:31Z</cp:lastPrinted>
  <dcterms:created xsi:type="dcterms:W3CDTF">2014-07-24T06:47:46Z</dcterms:created>
  <dcterms:modified xsi:type="dcterms:W3CDTF">2022-03-24T06:3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23AA7D0240774BA2A1A2924062FAAD</vt:lpwstr>
  </property>
  <property fmtid="{D5CDD505-2E9C-101B-9397-08002B2CF9AE}" pid="3" name="_dlc_DocIdItemGuid">
    <vt:lpwstr>550417dc-4836-44b9-a3ab-85fcba511e91</vt:lpwstr>
  </property>
</Properties>
</file>